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5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6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7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9" r:id="rId1"/>
    <p:sldMasterId id="2147483810" r:id="rId2"/>
    <p:sldMasterId id="2147483750" r:id="rId3"/>
    <p:sldMasterId id="2147483892" r:id="rId4"/>
    <p:sldMasterId id="2147483932" r:id="rId5"/>
    <p:sldMasterId id="2147483961" r:id="rId6"/>
    <p:sldMasterId id="2147483988" r:id="rId7"/>
    <p:sldMasterId id="2147484015" r:id="rId8"/>
    <p:sldMasterId id="2147484077" r:id="rId9"/>
  </p:sldMasterIdLst>
  <p:notesMasterIdLst>
    <p:notesMasterId r:id="rId24"/>
  </p:notesMasterIdLst>
  <p:handoutMasterIdLst>
    <p:handoutMasterId r:id="rId25"/>
  </p:handoutMasterIdLst>
  <p:sldIdLst>
    <p:sldId id="296" r:id="rId10"/>
    <p:sldId id="818" r:id="rId11"/>
    <p:sldId id="819" r:id="rId12"/>
    <p:sldId id="658" r:id="rId13"/>
    <p:sldId id="791" r:id="rId14"/>
    <p:sldId id="736" r:id="rId15"/>
    <p:sldId id="781" r:id="rId16"/>
    <p:sldId id="824" r:id="rId17"/>
    <p:sldId id="828" r:id="rId18"/>
    <p:sldId id="825" r:id="rId19"/>
    <p:sldId id="826" r:id="rId20"/>
    <p:sldId id="827" r:id="rId21"/>
    <p:sldId id="829" r:id="rId22"/>
    <p:sldId id="823" r:id="rId23"/>
  </p:sldIdLst>
  <p:sldSz cx="11201400" cy="6300788"/>
  <p:notesSz cx="6797675" cy="9926638"/>
  <p:defaultTextStyle>
    <a:defPPr>
      <a:defRPr lang="en-US"/>
    </a:defPPr>
    <a:lvl1pPr marL="0" algn="l" defTabSz="1183483" rtl="0" eaLnBrk="1" latinLnBrk="0" hangingPunct="1">
      <a:defRPr sz="2330" kern="1200">
        <a:solidFill>
          <a:schemeClr val="tx1"/>
        </a:solidFill>
        <a:latin typeface="+mn-lt"/>
        <a:ea typeface="+mn-ea"/>
        <a:cs typeface="+mn-cs"/>
      </a:defRPr>
    </a:lvl1pPr>
    <a:lvl2pPr marL="591741" algn="l" defTabSz="1183483" rtl="0" eaLnBrk="1" latinLnBrk="0" hangingPunct="1">
      <a:defRPr sz="2330" kern="1200">
        <a:solidFill>
          <a:schemeClr val="tx1"/>
        </a:solidFill>
        <a:latin typeface="+mn-lt"/>
        <a:ea typeface="+mn-ea"/>
        <a:cs typeface="+mn-cs"/>
      </a:defRPr>
    </a:lvl2pPr>
    <a:lvl3pPr marL="1183483" algn="l" defTabSz="1183483" rtl="0" eaLnBrk="1" latinLnBrk="0" hangingPunct="1">
      <a:defRPr sz="2330" kern="1200">
        <a:solidFill>
          <a:schemeClr val="tx1"/>
        </a:solidFill>
        <a:latin typeface="+mn-lt"/>
        <a:ea typeface="+mn-ea"/>
        <a:cs typeface="+mn-cs"/>
      </a:defRPr>
    </a:lvl3pPr>
    <a:lvl4pPr marL="1775226" algn="l" defTabSz="1183483" rtl="0" eaLnBrk="1" latinLnBrk="0" hangingPunct="1">
      <a:defRPr sz="2330" kern="1200">
        <a:solidFill>
          <a:schemeClr val="tx1"/>
        </a:solidFill>
        <a:latin typeface="+mn-lt"/>
        <a:ea typeface="+mn-ea"/>
        <a:cs typeface="+mn-cs"/>
      </a:defRPr>
    </a:lvl4pPr>
    <a:lvl5pPr marL="2366968" algn="l" defTabSz="1183483" rtl="0" eaLnBrk="1" latinLnBrk="0" hangingPunct="1">
      <a:defRPr sz="2330" kern="1200">
        <a:solidFill>
          <a:schemeClr val="tx1"/>
        </a:solidFill>
        <a:latin typeface="+mn-lt"/>
        <a:ea typeface="+mn-ea"/>
        <a:cs typeface="+mn-cs"/>
      </a:defRPr>
    </a:lvl5pPr>
    <a:lvl6pPr marL="2958710" algn="l" defTabSz="1183483" rtl="0" eaLnBrk="1" latinLnBrk="0" hangingPunct="1">
      <a:defRPr sz="2330" kern="1200">
        <a:solidFill>
          <a:schemeClr val="tx1"/>
        </a:solidFill>
        <a:latin typeface="+mn-lt"/>
        <a:ea typeface="+mn-ea"/>
        <a:cs typeface="+mn-cs"/>
      </a:defRPr>
    </a:lvl6pPr>
    <a:lvl7pPr marL="3550451" algn="l" defTabSz="1183483" rtl="0" eaLnBrk="1" latinLnBrk="0" hangingPunct="1">
      <a:defRPr sz="2330" kern="1200">
        <a:solidFill>
          <a:schemeClr val="tx1"/>
        </a:solidFill>
        <a:latin typeface="+mn-lt"/>
        <a:ea typeface="+mn-ea"/>
        <a:cs typeface="+mn-cs"/>
      </a:defRPr>
    </a:lvl7pPr>
    <a:lvl8pPr marL="4142193" algn="l" defTabSz="1183483" rtl="0" eaLnBrk="1" latinLnBrk="0" hangingPunct="1">
      <a:defRPr sz="2330" kern="1200">
        <a:solidFill>
          <a:schemeClr val="tx1"/>
        </a:solidFill>
        <a:latin typeface="+mn-lt"/>
        <a:ea typeface="+mn-ea"/>
        <a:cs typeface="+mn-cs"/>
      </a:defRPr>
    </a:lvl8pPr>
    <a:lvl9pPr marL="4733935" algn="l" defTabSz="1183483" rtl="0" eaLnBrk="1" latinLnBrk="0" hangingPunct="1">
      <a:defRPr sz="233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93" userDrawn="1">
          <p15:clr>
            <a:srgbClr val="A4A3A4"/>
          </p15:clr>
        </p15:guide>
        <p15:guide id="2" pos="3675" userDrawn="1">
          <p15:clr>
            <a:srgbClr val="A4A3A4"/>
          </p15:clr>
        </p15:guide>
        <p15:guide id="3" orient="horz" pos="1985" userDrawn="1">
          <p15:clr>
            <a:srgbClr val="A4A3A4"/>
          </p15:clr>
        </p15:guide>
        <p15:guide id="4" pos="35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ndows 用户" initials="W用" lastIdx="1" clrIdx="0">
    <p:extLst>
      <p:ext uri="{19B8F6BF-5375-455C-9EA6-DF929625EA0E}">
        <p15:presenceInfo xmlns:p15="http://schemas.microsoft.com/office/powerpoint/2012/main" userId="Windows 用户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DBD"/>
    <a:srgbClr val="00B9BE"/>
    <a:srgbClr val="E7E8E8"/>
    <a:srgbClr val="90BDD0"/>
    <a:srgbClr val="BF83B9"/>
    <a:srgbClr val="005FBE"/>
    <a:srgbClr val="3FA8C3"/>
    <a:srgbClr val="52B3FF"/>
    <a:srgbClr val="00B6DE"/>
    <a:srgbClr val="22BC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AF606853-7671-496A-8E4F-DF71F8EC918B}" styleName="深色样式 1 - 强调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03447BB-5D67-496B-8E87-E561075AD55C}" styleName="深色样式 1 - 强调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深色样式 1 - 强调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深色样式 1 - 强调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875" autoAdjust="0"/>
    <p:restoredTop sz="83498" autoAdjust="0"/>
  </p:normalViewPr>
  <p:slideViewPr>
    <p:cSldViewPr>
      <p:cViewPr varScale="1">
        <p:scale>
          <a:sx n="79" d="100"/>
          <a:sy n="79" d="100"/>
        </p:scale>
        <p:origin x="869" y="72"/>
      </p:cViewPr>
      <p:guideLst>
        <p:guide orient="horz" pos="2293"/>
        <p:guide pos="3675"/>
        <p:guide orient="horz" pos="1985"/>
        <p:guide pos="3528"/>
      </p:guideLst>
    </p:cSldViewPr>
  </p:slideViewPr>
  <p:outlineViewPr>
    <p:cViewPr>
      <p:scale>
        <a:sx n="33" d="100"/>
        <a:sy n="33" d="100"/>
      </p:scale>
      <p:origin x="0" y="529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3B1493-203D-4063-8F9E-D4458F0CFD41}" type="datetimeFigureOut">
              <a:rPr lang="zh-CN" altLang="en-US" smtClean="0"/>
              <a:t>2024/8/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2871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49688" y="942871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8FB5BD-A87F-4BF6-B3D2-D162B6839F0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6861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fld id="{22107D01-CA41-4F77-8F09-E98474DD6A9D}" type="datetimeFigureOut">
              <a:rPr lang="zh-CN" altLang="en-US" smtClean="0"/>
              <a:pPr/>
              <a:t>2024/8/7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 smtClean="0"/>
              <a:t>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fld id="{3A5311F5-2D98-4F62-BD49-B7769395A147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86297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黑体" panose="02010609060101010101" pitchFamily="49" charset="-122"/>
        <a:ea typeface="黑体" panose="02010609060101010101" pitchFamily="49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黑体" panose="02010609060101010101" pitchFamily="49" charset="-122"/>
        <a:ea typeface="黑体" panose="02010609060101010101" pitchFamily="49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黑体" panose="02010609060101010101" pitchFamily="49" charset="-122"/>
        <a:ea typeface="黑体" panose="02010609060101010101" pitchFamily="49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黑体" panose="02010609060101010101" pitchFamily="49" charset="-122"/>
        <a:ea typeface="黑体" panose="02010609060101010101" pitchFamily="49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黑体" panose="02010609060101010101" pitchFamily="49" charset="-122"/>
        <a:ea typeface="黑体" panose="02010609060101010101" pitchFamily="49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311F5-2D98-4F62-BD49-B7769395A147}" type="slidenum">
              <a:rPr lang="zh-CN" altLang="en-US" smtClean="0"/>
              <a:pPr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90395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/>
          </a:ln>
        </p:spPr>
      </p:sp>
      <p:sp>
        <p:nvSpPr>
          <p:cNvPr id="68611" name="备注占位符 2"/>
          <p:cNvSpPr>
            <a:spLocks noGrp="1"/>
          </p:cNvSpPr>
          <p:nvPr>
            <p:ph type="body" idx="1"/>
          </p:nvPr>
        </p:nvSpPr>
        <p:spPr>
          <a:xfrm>
            <a:off x="679450" y="4691063"/>
            <a:ext cx="5438775" cy="4443412"/>
          </a:xfrm>
          <a:noFill/>
          <a:ln>
            <a:noFill/>
          </a:ln>
        </p:spPr>
        <p:txBody>
          <a:bodyPr wrap="square" lIns="91440" tIns="45720" rIns="91440" bIns="45720" anchor="t"/>
          <a:lstStyle/>
          <a:p>
            <a:pPr lvl="0">
              <a:spcBef>
                <a:spcPct val="0"/>
              </a:spcBef>
            </a:pPr>
            <a:endParaRPr lang="zh-CN" altLang="en-US" sz="1000" dirty="0">
              <a:ea typeface="宋体" panose="02010600030101010101" pitchFamily="2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C3C137-1B7B-CC41-8319-E0E16167AAF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757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编码中心</a:t>
            </a:r>
            <a:r>
              <a:rPr lang="en-US" altLang="zh-CN" dirty="0" smtClean="0"/>
              <a:t>88</a:t>
            </a:r>
            <a:r>
              <a:rPr lang="zh-CN" altLang="en-US" dirty="0" smtClean="0"/>
              <a:t>年成立，最初为了解决外贸出口问题，由于国内商品没有商品条码，无法进入国外商超，为了解决这个问题，由原技术监督局会同三个部委，共同向国务院请示，申请成立。</a:t>
            </a:r>
            <a:endParaRPr lang="en-US" altLang="zh-CN" dirty="0" smtClean="0"/>
          </a:p>
          <a:p>
            <a:r>
              <a:rPr lang="zh-CN" altLang="en-US" dirty="0" smtClean="0"/>
              <a:t>所以这套物品编码原本发源于国际，后由编码中心引入国内应用的，用于商品流通的这样一套技术标准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311F5-2D98-4F62-BD49-B7769395A147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769788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B197DA-8205-47FA-81B8-0E41FF00A8D0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199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311F5-2D98-4F62-BD49-B7769395A147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323293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6D7CC-54D3-4275-8653-6F56A91BB3B0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39168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en-US" altLang="zh-CN"/>
              <a:t>8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C3C137-1B7B-CC41-8319-E0E16167AA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2515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根据应用的调用，你的商品存在几次商品填写错误</a:t>
            </a:r>
            <a:endParaRPr lang="en-US" altLang="zh-CN" dirty="0" smtClean="0"/>
          </a:p>
          <a:p>
            <a:r>
              <a:rPr lang="zh-CN" altLang="en-US" dirty="0" smtClean="0"/>
              <a:t>公开事实，调用失败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311F5-2D98-4F62-BD49-B7769395A147}" type="slidenum">
              <a:rPr lang="zh-CN" altLang="en-US" smtClean="0"/>
              <a:pPr/>
              <a:t>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24834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C3C137-1B7B-CC41-8319-E0E16167AA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821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作为数据资产，需要补充协议条款</a:t>
            </a:r>
            <a:endParaRPr lang="en-US" altLang="zh-CN" dirty="0" smtClean="0"/>
          </a:p>
          <a:p>
            <a:r>
              <a:rPr lang="zh-CN" altLang="en-US" dirty="0" smtClean="0"/>
              <a:t>公共数据授权管理，参考上海，浙江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311F5-2D98-4F62-BD49-B7769395A147}" type="slidenum">
              <a:rPr lang="zh-CN" altLang="en-US" smtClean="0"/>
              <a:pPr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98973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1.pn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porate Visual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98615" y="2978346"/>
            <a:ext cx="7930602" cy="668081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2400" b="1" i="0" cap="none" spc="83" baseline="0">
                <a:solidFill>
                  <a:srgbClr val="FFFFFF"/>
                </a:solidFill>
                <a:latin typeface="+mn-lt"/>
                <a:ea typeface="+mj-ea"/>
                <a:cs typeface="Verdana"/>
              </a:defRPr>
            </a:lvl1pPr>
          </a:lstStyle>
          <a:p>
            <a:r>
              <a:rPr lang="en-GB" noProof="0" smtClean="0"/>
              <a:t>Title of Presentation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704397" y="4044322"/>
            <a:ext cx="7924820" cy="316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22342" y="4175194"/>
            <a:ext cx="7917059" cy="47914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1600" b="0" cap="none" spc="0" baseline="0">
                <a:solidFill>
                  <a:srgbClr val="FFFFFF"/>
                </a:solidFill>
                <a:latin typeface="+mn-lt"/>
                <a:ea typeface="+mj-ea"/>
                <a:cs typeface="Verdana"/>
              </a:defRPr>
            </a:lvl1pPr>
          </a:lstStyle>
          <a:p>
            <a:pPr lvl="0"/>
            <a:r>
              <a:rPr lang="en-GB" noProof="0" dirty="0" smtClean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22319" y="4696356"/>
            <a:ext cx="7917083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 b="0" cap="none" spc="0" baseline="0">
                <a:solidFill>
                  <a:srgbClr val="FFFFFF"/>
                </a:solidFill>
                <a:latin typeface="+mn-lt"/>
                <a:ea typeface="+mj-ea"/>
                <a:cs typeface="Verdana"/>
              </a:defRPr>
            </a:lvl1pPr>
          </a:lstStyle>
          <a:p>
            <a:pPr lvl="0"/>
            <a:r>
              <a:rPr lang="en-GB" noProof="0" dirty="0" smtClean="0"/>
              <a:t>Click to Add Dat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73875"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defTabSz="973875"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944629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8" y="1501465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5"/>
            </a:lvl1pPr>
            <a:lvl2pPr>
              <a:lnSpc>
                <a:spcPct val="100000"/>
              </a:lnSpc>
              <a:buClr>
                <a:schemeClr val="accent1"/>
              </a:buClr>
              <a:defRPr sz="1195"/>
            </a:lvl2pPr>
            <a:lvl3pPr>
              <a:lnSpc>
                <a:spcPct val="100000"/>
              </a:lnSpc>
              <a:buClr>
                <a:schemeClr val="accent1"/>
              </a:buClr>
              <a:defRPr sz="1195"/>
            </a:lvl3pPr>
            <a:lvl4pPr>
              <a:lnSpc>
                <a:spcPct val="100000"/>
              </a:lnSpc>
              <a:buClr>
                <a:schemeClr val="accent1"/>
              </a:buClr>
              <a:defRPr sz="1195"/>
            </a:lvl4pPr>
            <a:lvl5pPr>
              <a:lnSpc>
                <a:spcPct val="100000"/>
              </a:lnSpc>
              <a:buClr>
                <a:schemeClr val="accent1"/>
              </a:buClr>
              <a:defRPr sz="1195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8" y="1508219"/>
            <a:ext cx="4768007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5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42320929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8" y="1501465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5"/>
            </a:lvl1pPr>
            <a:lvl2pPr>
              <a:lnSpc>
                <a:spcPct val="100000"/>
              </a:lnSpc>
              <a:buClr>
                <a:schemeClr val="accent1"/>
              </a:buClr>
              <a:defRPr sz="1195"/>
            </a:lvl2pPr>
            <a:lvl3pPr>
              <a:lnSpc>
                <a:spcPct val="100000"/>
              </a:lnSpc>
              <a:buClr>
                <a:schemeClr val="accent1"/>
              </a:buClr>
              <a:defRPr sz="1195"/>
            </a:lvl3pPr>
            <a:lvl4pPr>
              <a:lnSpc>
                <a:spcPct val="100000"/>
              </a:lnSpc>
              <a:buClr>
                <a:schemeClr val="accent1"/>
              </a:buClr>
              <a:defRPr sz="1195"/>
            </a:lvl4pPr>
            <a:lvl5pPr>
              <a:lnSpc>
                <a:spcPct val="100000"/>
              </a:lnSpc>
              <a:buClr>
                <a:schemeClr val="accent1"/>
              </a:buClr>
              <a:defRPr sz="1195"/>
            </a:lvl5pPr>
          </a:lstStyle>
          <a:p>
            <a:pPr lvl="0"/>
            <a:r>
              <a:rPr lang="en-GB" noProof="0" dirty="0"/>
              <a:t>Add text her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8" y="1508221"/>
            <a:ext cx="4768007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5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874558" y="4271395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2283" tIns="85984" rIns="132283" bIns="132283" rtlCol="0" anchor="t" anchorCtr="0"/>
          <a:lstStyle/>
          <a:p>
            <a:pPr marL="0" marR="0" indent="0" algn="l" defTabSz="84010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GB" sz="825" b="0" i="1" noProof="0" dirty="0">
              <a:solidFill>
                <a:schemeClr val="bg1"/>
              </a:solidFill>
            </a:endParaRPr>
          </a:p>
          <a:p>
            <a:pPr marL="0" marR="0" indent="0" algn="l" defTabSz="84010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GB" sz="825" b="0" i="1" noProof="0" dirty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825" b="0" i="1" noProof="0" dirty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974080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67945" marR="0" indent="0" algn="l" defTabSz="419735" rtl="0" eaLnBrk="1" fontAlgn="base" latinLnBrk="0" hangingPunct="1">
              <a:lnSpc>
                <a:spcPct val="110000"/>
              </a:lnSpc>
              <a:spcBef>
                <a:spcPts val="365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825" b="0" i="1">
                <a:solidFill>
                  <a:schemeClr val="bg1"/>
                </a:solidFill>
              </a:defRPr>
            </a:lvl1pPr>
            <a:lvl2pPr>
              <a:defRPr sz="1010" b="0" i="1">
                <a:solidFill>
                  <a:schemeClr val="bg1"/>
                </a:solidFill>
              </a:defRPr>
            </a:lvl2pPr>
            <a:lvl3pPr>
              <a:defRPr sz="1010" b="0" i="1">
                <a:solidFill>
                  <a:schemeClr val="bg1"/>
                </a:solidFill>
              </a:defRPr>
            </a:lvl3pPr>
            <a:lvl4pPr>
              <a:defRPr sz="1010" b="0" i="1">
                <a:solidFill>
                  <a:schemeClr val="bg1"/>
                </a:solidFill>
              </a:defRPr>
            </a:lvl4pPr>
            <a:lvl5pPr>
              <a:defRPr sz="1010" b="0" i="1">
                <a:solidFill>
                  <a:schemeClr val="bg1"/>
                </a:solidFill>
              </a:defRPr>
            </a:lvl5pPr>
          </a:lstStyle>
          <a:p>
            <a:pPr marL="67945" marR="0" lvl="0" indent="0" algn="l" defTabSz="419735" rtl="0" eaLnBrk="1" fontAlgn="base" latinLnBrk="0" hangingPunct="1">
              <a:lnSpc>
                <a:spcPct val="110000"/>
              </a:lnSpc>
              <a:spcBef>
                <a:spcPts val="365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010" b="0" i="1" noProof="0" dirty="0">
                <a:solidFill>
                  <a:schemeClr val="bg1"/>
                </a:solidFill>
              </a:rPr>
              <a:t>Caption or</a:t>
            </a:r>
            <a:r>
              <a:rPr lang="en-GB" sz="1010" b="0" i="1" baseline="0" noProof="0" dirty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010" b="0" i="1" noProof="0" dirty="0">
                <a:solidFill>
                  <a:schemeClr val="bg1"/>
                </a:solidFill>
              </a:rPr>
              <a:t>You may adjust the height of this box</a:t>
            </a:r>
            <a:r>
              <a:rPr lang="en-GB" sz="1010" b="0" i="1" baseline="0" noProof="0" dirty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010" b="0" i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61561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55713" y="2238519"/>
            <a:ext cx="4783266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5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5851628" y="2238519"/>
            <a:ext cx="4797732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5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501465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5851194" y="1501465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18612831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6869" y="1336533"/>
            <a:ext cx="10088804" cy="4066164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380"/>
            </a:lvl1pPr>
            <a:lvl2pPr>
              <a:lnSpc>
                <a:spcPct val="150000"/>
              </a:lnSpc>
              <a:defRPr sz="1380"/>
            </a:lvl2pPr>
            <a:lvl3pPr>
              <a:lnSpc>
                <a:spcPct val="150000"/>
              </a:lnSpc>
              <a:defRPr sz="1380"/>
            </a:lvl3pPr>
            <a:lvl4pPr>
              <a:lnSpc>
                <a:spcPct val="150000"/>
              </a:lnSpc>
              <a:defRPr sz="1380"/>
            </a:lvl4pPr>
            <a:lvl5pPr>
              <a:lnSpc>
                <a:spcPct val="150000"/>
              </a:lnSpc>
              <a:defRPr sz="13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41197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600700" y="1449892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451399"/>
            <a:ext cx="4848683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65"/>
              </a:spcBef>
              <a:defRPr sz="1010"/>
            </a:lvl1pPr>
            <a:lvl2pPr>
              <a:lnSpc>
                <a:spcPct val="100000"/>
              </a:lnSpc>
              <a:spcBef>
                <a:spcPts val="365"/>
              </a:spcBef>
              <a:defRPr sz="1010"/>
            </a:lvl2pPr>
            <a:lvl3pPr>
              <a:lnSpc>
                <a:spcPct val="100000"/>
              </a:lnSpc>
              <a:spcBef>
                <a:spcPts val="365"/>
              </a:spcBef>
              <a:defRPr sz="1010"/>
            </a:lvl3pPr>
            <a:lvl4pPr>
              <a:lnSpc>
                <a:spcPct val="100000"/>
              </a:lnSpc>
              <a:spcBef>
                <a:spcPts val="365"/>
              </a:spcBef>
              <a:defRPr sz="1010"/>
            </a:lvl4pPr>
            <a:lvl5pPr>
              <a:lnSpc>
                <a:spcPct val="100000"/>
              </a:lnSpc>
              <a:spcBef>
                <a:spcPts val="365"/>
              </a:spcBef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814916" y="1451399"/>
            <a:ext cx="4834444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65"/>
              </a:spcBef>
              <a:defRPr sz="1010"/>
            </a:lvl1pPr>
            <a:lvl2pPr>
              <a:lnSpc>
                <a:spcPct val="100000"/>
              </a:lnSpc>
              <a:spcBef>
                <a:spcPts val="365"/>
              </a:spcBef>
              <a:defRPr sz="1010"/>
            </a:lvl2pPr>
            <a:lvl3pPr>
              <a:lnSpc>
                <a:spcPct val="100000"/>
              </a:lnSpc>
              <a:spcBef>
                <a:spcPts val="365"/>
              </a:spcBef>
              <a:defRPr sz="1010"/>
            </a:lvl3pPr>
            <a:lvl4pPr>
              <a:lnSpc>
                <a:spcPct val="100000"/>
              </a:lnSpc>
              <a:spcBef>
                <a:spcPts val="365"/>
              </a:spcBef>
              <a:defRPr sz="1010"/>
            </a:lvl4pPr>
            <a:lvl5pPr>
              <a:lnSpc>
                <a:spcPct val="100000"/>
              </a:lnSpc>
              <a:spcBef>
                <a:spcPts val="365"/>
              </a:spcBef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2040" y="3556002"/>
            <a:ext cx="4848683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65"/>
              </a:spcBef>
              <a:defRPr sz="1010"/>
            </a:lvl1pPr>
            <a:lvl2pPr>
              <a:lnSpc>
                <a:spcPct val="100000"/>
              </a:lnSpc>
              <a:spcBef>
                <a:spcPts val="365"/>
              </a:spcBef>
              <a:defRPr sz="1010"/>
            </a:lvl2pPr>
            <a:lvl3pPr>
              <a:lnSpc>
                <a:spcPct val="100000"/>
              </a:lnSpc>
              <a:spcBef>
                <a:spcPts val="365"/>
              </a:spcBef>
              <a:defRPr sz="1010"/>
            </a:lvl3pPr>
            <a:lvl4pPr>
              <a:lnSpc>
                <a:spcPct val="100000"/>
              </a:lnSpc>
              <a:spcBef>
                <a:spcPts val="365"/>
              </a:spcBef>
              <a:defRPr sz="1010"/>
            </a:lvl4pPr>
            <a:lvl5pPr>
              <a:lnSpc>
                <a:spcPct val="100000"/>
              </a:lnSpc>
              <a:spcBef>
                <a:spcPts val="365"/>
              </a:spcBef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14916" y="3556002"/>
            <a:ext cx="4834444" cy="1681692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365"/>
              </a:spcBef>
              <a:defRPr sz="1010" kern="1200"/>
            </a:lvl1pPr>
            <a:lvl2pPr>
              <a:lnSpc>
                <a:spcPct val="100000"/>
              </a:lnSpc>
              <a:spcBef>
                <a:spcPts val="365"/>
              </a:spcBef>
              <a:defRPr sz="1010"/>
            </a:lvl2pPr>
            <a:lvl3pPr>
              <a:lnSpc>
                <a:spcPct val="100000"/>
              </a:lnSpc>
              <a:spcBef>
                <a:spcPts val="365"/>
              </a:spcBef>
              <a:defRPr sz="1010" kern="1200"/>
            </a:lvl3pPr>
            <a:lvl4pPr>
              <a:lnSpc>
                <a:spcPct val="100000"/>
              </a:lnSpc>
              <a:spcBef>
                <a:spcPts val="365"/>
              </a:spcBef>
              <a:defRPr sz="1010" kern="1200"/>
            </a:lvl4pPr>
            <a:lvl5pPr>
              <a:lnSpc>
                <a:spcPct val="100000"/>
              </a:lnSpc>
              <a:spcBef>
                <a:spcPts val="365"/>
              </a:spcBef>
              <a:defRPr sz="101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895134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00700" y="1449892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845831"/>
            <a:ext cx="4848683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10"/>
            </a:lvl1pPr>
            <a:lvl2pPr>
              <a:lnSpc>
                <a:spcPct val="100000"/>
              </a:lnSpc>
              <a:defRPr sz="1010"/>
            </a:lvl2pPr>
            <a:lvl3pPr>
              <a:lnSpc>
                <a:spcPct val="100000"/>
              </a:lnSpc>
              <a:defRPr sz="1010"/>
            </a:lvl3pPr>
            <a:lvl4pPr>
              <a:lnSpc>
                <a:spcPct val="100000"/>
              </a:lnSpc>
              <a:defRPr sz="1010"/>
            </a:lvl4pPr>
            <a:lvl5pPr>
              <a:lnSpc>
                <a:spcPct val="100000"/>
              </a:lnSpc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19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794446" y="1845831"/>
            <a:ext cx="4848683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10"/>
            </a:lvl1pPr>
            <a:lvl2pPr>
              <a:lnSpc>
                <a:spcPct val="100000"/>
              </a:lnSpc>
              <a:defRPr sz="1010"/>
            </a:lvl2pPr>
            <a:lvl3pPr>
              <a:lnSpc>
                <a:spcPct val="100000"/>
              </a:lnSpc>
              <a:defRPr sz="1010"/>
            </a:lvl3pPr>
            <a:lvl4pPr>
              <a:lnSpc>
                <a:spcPct val="100000"/>
              </a:lnSpc>
              <a:defRPr sz="1010"/>
            </a:lvl4pPr>
            <a:lvl5pPr>
              <a:lnSpc>
                <a:spcPct val="100000"/>
              </a:lnSpc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795744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19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52040" y="3863593"/>
            <a:ext cx="4848683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10"/>
            </a:lvl1pPr>
            <a:lvl2pPr>
              <a:lnSpc>
                <a:spcPct val="100000"/>
              </a:lnSpc>
              <a:defRPr sz="1010"/>
            </a:lvl2pPr>
            <a:lvl3pPr>
              <a:lnSpc>
                <a:spcPct val="100000"/>
              </a:lnSpc>
              <a:defRPr sz="1010"/>
            </a:lvl3pPr>
            <a:lvl4pPr>
              <a:lnSpc>
                <a:spcPct val="100000"/>
              </a:lnSpc>
              <a:defRPr sz="1010"/>
            </a:lvl4pPr>
            <a:lvl5pPr>
              <a:lnSpc>
                <a:spcPct val="100000"/>
              </a:lnSpc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553339" y="3472789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19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794446" y="3863593"/>
            <a:ext cx="4848683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10"/>
            </a:lvl1pPr>
            <a:lvl2pPr>
              <a:lnSpc>
                <a:spcPct val="100000"/>
              </a:lnSpc>
              <a:defRPr sz="1010"/>
            </a:lvl2pPr>
            <a:lvl3pPr>
              <a:lnSpc>
                <a:spcPct val="100000"/>
              </a:lnSpc>
              <a:defRPr sz="1010"/>
            </a:lvl3pPr>
            <a:lvl4pPr>
              <a:lnSpc>
                <a:spcPct val="100000"/>
              </a:lnSpc>
              <a:defRPr sz="1010"/>
            </a:lvl4pPr>
            <a:lvl5pPr>
              <a:lnSpc>
                <a:spcPct val="100000"/>
              </a:lnSpc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5795744" y="3472789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19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7513839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2815" y="1627241"/>
            <a:ext cx="3731816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8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530066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52815" y="2925043"/>
            <a:ext cx="3731816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8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4692142" y="2827868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552815" y="4222844"/>
            <a:ext cx="3731816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8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692142" y="4125669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994401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0553" y="1440159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8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46625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  <a:lvl2pPr>
              <a:lnSpc>
                <a:spcPts val="1655"/>
              </a:lnSpc>
              <a:defRPr sz="1100"/>
            </a:lvl2pPr>
            <a:lvl3pPr>
              <a:lnSpc>
                <a:spcPts val="1655"/>
              </a:lnSpc>
              <a:defRPr sz="1100"/>
            </a:lvl3pPr>
            <a:lvl4pPr>
              <a:lnSpc>
                <a:spcPts val="1655"/>
              </a:lnSpc>
              <a:defRPr sz="1100"/>
            </a:lvl4pPr>
            <a:lvl5pPr>
              <a:lnSpc>
                <a:spcPts val="1655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48477" y="4197342"/>
            <a:ext cx="10101953" cy="11780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197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655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803292" y="1440159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8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799363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  <a:lvl2pPr>
              <a:lnSpc>
                <a:spcPts val="1655"/>
              </a:lnSpc>
              <a:defRPr sz="1100"/>
            </a:lvl2pPr>
            <a:lvl3pPr>
              <a:lnSpc>
                <a:spcPts val="1655"/>
              </a:lnSpc>
              <a:defRPr sz="1100"/>
            </a:lvl3pPr>
            <a:lvl4pPr>
              <a:lnSpc>
                <a:spcPts val="1655"/>
              </a:lnSpc>
              <a:defRPr sz="1100"/>
            </a:lvl4pPr>
            <a:lvl5pPr>
              <a:lnSpc>
                <a:spcPts val="1655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200602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8317538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25730">
              <a:lnSpc>
                <a:spcPct val="100000"/>
              </a:lnSpc>
              <a:buClr>
                <a:schemeClr val="accent4"/>
              </a:buClr>
              <a:defRPr sz="825"/>
            </a:lvl1pPr>
            <a:lvl2pPr marL="248285" indent="-125730">
              <a:lnSpc>
                <a:spcPct val="100000"/>
              </a:lnSpc>
              <a:buClr>
                <a:schemeClr val="accent4"/>
              </a:buClr>
              <a:defRPr sz="825"/>
            </a:lvl2pPr>
            <a:lvl3pPr marL="330835" indent="-125730" algn="l">
              <a:lnSpc>
                <a:spcPct val="100000"/>
              </a:lnSpc>
              <a:buClr>
                <a:schemeClr val="accent4"/>
              </a:buClr>
              <a:defRPr sz="825"/>
            </a:lvl3pPr>
            <a:lvl4pPr marL="469900" indent="-125730">
              <a:lnSpc>
                <a:spcPct val="100000"/>
              </a:lnSpc>
              <a:buClr>
                <a:schemeClr val="accent4"/>
              </a:buClr>
              <a:defRPr sz="825"/>
            </a:lvl4pPr>
            <a:lvl5pPr marL="601980" indent="-125730">
              <a:lnSpc>
                <a:spcPct val="100000"/>
              </a:lnSpc>
              <a:buClr>
                <a:schemeClr val="accent4"/>
              </a:buClr>
              <a:defRPr sz="825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50981" y="1440159"/>
            <a:ext cx="2317148" cy="737426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01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623686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25730">
              <a:lnSpc>
                <a:spcPct val="100000"/>
              </a:lnSpc>
              <a:buClr>
                <a:schemeClr val="accent2"/>
              </a:buClr>
              <a:defRPr sz="825"/>
            </a:lvl1pPr>
            <a:lvl2pPr marL="248285" indent="-125730">
              <a:lnSpc>
                <a:spcPct val="100000"/>
              </a:lnSpc>
              <a:buClr>
                <a:schemeClr val="accent2"/>
              </a:buClr>
              <a:defRPr sz="825"/>
            </a:lvl2pPr>
            <a:lvl3pPr marL="330835" indent="-125730" algn="l">
              <a:lnSpc>
                <a:spcPct val="100000"/>
              </a:lnSpc>
              <a:buClr>
                <a:schemeClr val="accent2"/>
              </a:buClr>
              <a:defRPr sz="825"/>
            </a:lvl3pPr>
            <a:lvl4pPr marL="469900" indent="-125730">
              <a:lnSpc>
                <a:spcPct val="100000"/>
              </a:lnSpc>
              <a:buClr>
                <a:schemeClr val="accent2"/>
              </a:buClr>
              <a:defRPr sz="825"/>
            </a:lvl4pPr>
            <a:lvl5pPr marL="601980" indent="-125730">
              <a:lnSpc>
                <a:spcPct val="100000"/>
              </a:lnSpc>
              <a:buClr>
                <a:schemeClr val="accent2"/>
              </a:buClr>
              <a:defRPr sz="825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3087153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25730">
              <a:lnSpc>
                <a:spcPct val="100000"/>
              </a:lnSpc>
              <a:buClr>
                <a:schemeClr val="accent5"/>
              </a:buClr>
              <a:defRPr sz="825"/>
            </a:lvl1pPr>
            <a:lvl2pPr marL="248285" indent="-125730">
              <a:lnSpc>
                <a:spcPct val="100000"/>
              </a:lnSpc>
              <a:buClr>
                <a:schemeClr val="accent5"/>
              </a:buClr>
              <a:defRPr sz="825"/>
            </a:lvl2pPr>
            <a:lvl3pPr marL="330835" indent="-125730" algn="l">
              <a:lnSpc>
                <a:spcPct val="100000"/>
              </a:lnSpc>
              <a:buClr>
                <a:schemeClr val="accent5"/>
              </a:buClr>
              <a:defRPr sz="825"/>
            </a:lvl3pPr>
            <a:lvl4pPr marL="469900" indent="-125730">
              <a:lnSpc>
                <a:spcPct val="100000"/>
              </a:lnSpc>
              <a:buClr>
                <a:schemeClr val="accent5"/>
              </a:buClr>
              <a:defRPr sz="825"/>
            </a:lvl4pPr>
            <a:lvl5pPr marL="601980" indent="-125730">
              <a:lnSpc>
                <a:spcPct val="100000"/>
              </a:lnSpc>
              <a:buClr>
                <a:schemeClr val="accent5"/>
              </a:buClr>
              <a:defRPr sz="825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550621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25730">
              <a:lnSpc>
                <a:spcPct val="100000"/>
              </a:lnSpc>
              <a:buClr>
                <a:schemeClr val="accent3"/>
              </a:buClr>
              <a:defRPr sz="825"/>
            </a:lvl1pPr>
            <a:lvl2pPr marL="248285" indent="-125730">
              <a:lnSpc>
                <a:spcPct val="100000"/>
              </a:lnSpc>
              <a:buClr>
                <a:schemeClr val="accent3"/>
              </a:buClr>
              <a:defRPr sz="825"/>
            </a:lvl2pPr>
            <a:lvl3pPr marL="330835" indent="-125730" algn="l">
              <a:lnSpc>
                <a:spcPct val="100000"/>
              </a:lnSpc>
              <a:buClr>
                <a:schemeClr val="accent3"/>
              </a:buClr>
              <a:defRPr sz="825"/>
            </a:lvl3pPr>
            <a:lvl4pPr marL="469900" indent="-125730">
              <a:lnSpc>
                <a:spcPct val="100000"/>
              </a:lnSpc>
              <a:buClr>
                <a:schemeClr val="accent3"/>
              </a:buClr>
              <a:defRPr sz="825"/>
            </a:lvl4pPr>
            <a:lvl5pPr marL="601980" indent="-125730">
              <a:lnSpc>
                <a:spcPct val="100000"/>
              </a:lnSpc>
              <a:buClr>
                <a:schemeClr val="accent3"/>
              </a:buClr>
              <a:defRPr sz="825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3091043" y="1440159"/>
            <a:ext cx="2317148" cy="737426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01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5620518" y="1440159"/>
            <a:ext cx="2317148" cy="737426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01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8328483" y="1440159"/>
            <a:ext cx="2317148" cy="737426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01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253372125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1115" y="1392424"/>
            <a:ext cx="10102393" cy="382046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285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541115" y="1756589"/>
            <a:ext cx="10093892" cy="439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67945" indent="0">
              <a:buNone/>
              <a:defRPr sz="1100"/>
            </a:lvl1pPr>
            <a:lvl2pPr marL="250190" indent="0">
              <a:buNone/>
              <a:defRPr/>
            </a:lvl2pPr>
            <a:lvl3pPr marL="494665" indent="0">
              <a:buNone/>
              <a:defRPr/>
            </a:lvl3pPr>
            <a:lvl4pPr marL="755650" indent="0">
              <a:buNone/>
              <a:defRPr/>
            </a:lvl4pPr>
            <a:lvl5pPr marL="953770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990286" y="3571226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67945" indent="0">
              <a:buNone/>
              <a:defRPr sz="1100"/>
            </a:lvl1pPr>
            <a:lvl2pPr marL="250190" indent="0">
              <a:buNone/>
              <a:defRPr/>
            </a:lvl2pPr>
            <a:lvl3pPr marL="494665" indent="0">
              <a:buNone/>
              <a:defRPr/>
            </a:lvl3pPr>
            <a:lvl4pPr marL="755650" indent="0">
              <a:buNone/>
              <a:defRPr/>
            </a:lvl4pPr>
            <a:lvl5pPr marL="953770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541115" y="4973578"/>
            <a:ext cx="10093892" cy="353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67945" indent="0">
              <a:buNone/>
              <a:defRPr sz="1100" b="1" i="0">
                <a:solidFill>
                  <a:schemeClr val="accent1"/>
                </a:solidFill>
              </a:defRPr>
            </a:lvl1pPr>
            <a:lvl2pPr marL="250190" indent="0">
              <a:buNone/>
              <a:defRPr/>
            </a:lvl2pPr>
            <a:lvl3pPr marL="494665" indent="0">
              <a:buNone/>
              <a:defRPr/>
            </a:lvl3pPr>
            <a:lvl4pPr marL="755650" indent="0">
              <a:buNone/>
              <a:defRPr/>
            </a:lvl4pPr>
            <a:lvl5pPr marL="953770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990286" y="4497337"/>
            <a:ext cx="9652554" cy="30945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67945" indent="0">
              <a:buNone/>
              <a:defRPr sz="1100"/>
            </a:lvl1pPr>
            <a:lvl2pPr marL="250190" indent="0">
              <a:buNone/>
              <a:defRPr/>
            </a:lvl2pPr>
            <a:lvl3pPr marL="494665" indent="0">
              <a:buNone/>
              <a:defRPr/>
            </a:lvl3pPr>
            <a:lvl4pPr marL="755650" indent="0">
              <a:buNone/>
              <a:defRPr/>
            </a:lvl4pPr>
            <a:lvl5pPr marL="953770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541115" y="2181983"/>
            <a:ext cx="10093892" cy="12778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67945" indent="0">
              <a:buNone/>
              <a:defRPr sz="1100" b="0" baseline="0"/>
            </a:lvl1pPr>
            <a:lvl2pPr marL="250190" indent="0">
              <a:buNone/>
              <a:defRPr/>
            </a:lvl2pPr>
            <a:lvl3pPr marL="494665" indent="0">
              <a:buNone/>
              <a:defRPr/>
            </a:lvl3pPr>
            <a:lvl4pPr marL="755650" indent="0">
              <a:buNone/>
              <a:defRPr/>
            </a:lvl4pPr>
            <a:lvl5pPr marL="953770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990286" y="3879683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67945" indent="0">
              <a:buNone/>
              <a:defRPr sz="1100"/>
            </a:lvl1pPr>
            <a:lvl2pPr marL="250190" indent="0">
              <a:buNone/>
              <a:defRPr/>
            </a:lvl2pPr>
            <a:lvl3pPr marL="494665" indent="0">
              <a:buNone/>
              <a:defRPr/>
            </a:lvl3pPr>
            <a:lvl4pPr marL="755650" indent="0">
              <a:buNone/>
              <a:defRPr/>
            </a:lvl4pPr>
            <a:lvl5pPr marL="953770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990286" y="4188139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67945" indent="0">
              <a:buNone/>
              <a:defRPr sz="1100"/>
            </a:lvl1pPr>
            <a:lvl2pPr marL="250190" indent="0">
              <a:buNone/>
              <a:defRPr/>
            </a:lvl2pPr>
            <a:lvl3pPr marL="494665" indent="0">
              <a:buNone/>
              <a:defRPr/>
            </a:lvl3pPr>
            <a:lvl4pPr marL="755650" indent="0">
              <a:buNone/>
              <a:defRPr/>
            </a:lvl4pPr>
            <a:lvl5pPr marL="953770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544080" y="3573071"/>
            <a:ext cx="357050" cy="325754"/>
          </a:xfrm>
          <a:prstGeom prst="rect">
            <a:avLst/>
          </a:prstGeom>
        </p:spPr>
        <p:txBody>
          <a:bodyPr vert="horz" lIns="72000" rIns="0"/>
          <a:lstStyle>
            <a:lvl1pPr marL="67945" indent="0" algn="l">
              <a:buNone/>
              <a:defRPr sz="110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544080" y="3878391"/>
            <a:ext cx="357050" cy="325754"/>
          </a:xfrm>
          <a:prstGeom prst="rect">
            <a:avLst/>
          </a:prstGeom>
        </p:spPr>
        <p:txBody>
          <a:bodyPr vert="horz" lIns="72000" rIns="0"/>
          <a:lstStyle>
            <a:lvl1pPr marL="67945" indent="0" algn="l">
              <a:buNone/>
              <a:defRPr sz="110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544080" y="4187601"/>
            <a:ext cx="357050" cy="325754"/>
          </a:xfrm>
          <a:prstGeom prst="rect">
            <a:avLst/>
          </a:prstGeom>
        </p:spPr>
        <p:txBody>
          <a:bodyPr vert="horz" lIns="72000" rIns="0"/>
          <a:lstStyle>
            <a:lvl1pPr marL="67945" indent="0" algn="l">
              <a:buNone/>
              <a:defRPr sz="110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544080" y="4497134"/>
            <a:ext cx="357050" cy="325754"/>
          </a:xfrm>
          <a:prstGeom prst="rect">
            <a:avLst/>
          </a:prstGeom>
        </p:spPr>
        <p:txBody>
          <a:bodyPr vert="horz" lIns="72000" rIns="0"/>
          <a:lstStyle>
            <a:lvl1pPr marL="67945" indent="0" algn="l">
              <a:buNone/>
              <a:defRPr sz="110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2517432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60070" y="1470185"/>
            <a:ext cx="10081260" cy="41582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171A08-0EA3-4A23-9B68-CDB27CFE98DF}" type="slidenum">
              <a:rPr lang="zh-CN" altLang="zh-CN"/>
              <a:t>‹#›</a:t>
            </a:fld>
            <a:endParaRPr lang="zh-CN" altLang="zh-CN" sz="2205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5543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40" b="1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5937252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048747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5332427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odGroup_Content">
  <p:cSld name="FoodGroup_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Google Shape;43;p5"/>
          <p:cNvCxnSpPr/>
          <p:nvPr/>
        </p:nvCxnSpPr>
        <p:spPr>
          <a:xfrm>
            <a:off x="648553" y="6033891"/>
            <a:ext cx="0" cy="105289"/>
          </a:xfrm>
          <a:prstGeom prst="straightConnector1">
            <a:avLst/>
          </a:prstGeom>
          <a:noFill/>
          <a:ln w="9525" cap="flat" cmpd="sng">
            <a:solidFill>
              <a:srgbClr val="36464D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4" name="Google Shape;44;p5"/>
          <p:cNvSpPr txBox="1">
            <a:spLocks noGrp="1"/>
          </p:cNvSpPr>
          <p:nvPr>
            <p:ph type="title"/>
          </p:nvPr>
        </p:nvSpPr>
        <p:spPr>
          <a:xfrm>
            <a:off x="325661" y="207413"/>
            <a:ext cx="10527038" cy="5275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800"/>
              <a:buFont typeface="Arial" panose="020B0604020202020204"/>
              <a:buNone/>
              <a:defRPr sz="1655" b="1" i="0" u="none" strike="noStrike" cap="none">
                <a:solidFill>
                  <a:srgbClr val="0F653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/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ftr" idx="11"/>
          </p:nvPr>
        </p:nvSpPr>
        <p:spPr>
          <a:xfrm>
            <a:off x="648553" y="5920426"/>
            <a:ext cx="9001178" cy="3354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42037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840105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1260475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168021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210058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2520315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2940685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336042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5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sldNum" idx="12"/>
          </p:nvPr>
        </p:nvSpPr>
        <p:spPr>
          <a:xfrm>
            <a:off x="0" y="5927408"/>
            <a:ext cx="686490" cy="3354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r" rtl="0">
              <a:spcBef>
                <a:spcPts val="0"/>
              </a:spcBef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r" rtl="0">
              <a:spcBef>
                <a:spcPts val="0"/>
              </a:spcBef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r" rtl="0">
              <a:spcBef>
                <a:spcPts val="0"/>
              </a:spcBef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r" rtl="0">
              <a:spcBef>
                <a:spcPts val="0"/>
              </a:spcBef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r" rtl="0">
              <a:spcBef>
                <a:spcPts val="0"/>
              </a:spcBef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r" rtl="0">
              <a:spcBef>
                <a:spcPts val="0"/>
              </a:spcBef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r" rtl="0">
              <a:spcBef>
                <a:spcPts val="0"/>
              </a:spcBef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r" rtl="0">
              <a:spcBef>
                <a:spcPts val="0"/>
              </a:spcBef>
              <a:buNone/>
              <a:defRPr sz="82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00000000-1234-1234-1234-123412341234}" type="slidenum">
              <a:rPr lang="en-GB" smtClean="0"/>
              <a:t>‹#›</a:t>
            </a:fld>
            <a:endParaRPr lang="en-GB"/>
          </a:p>
        </p:txBody>
      </p:sp>
      <p:sp>
        <p:nvSpPr>
          <p:cNvPr id="47" name="Google Shape;47;p5"/>
          <p:cNvSpPr txBox="1">
            <a:spLocks noGrp="1"/>
          </p:cNvSpPr>
          <p:nvPr>
            <p:ph type="body" idx="1"/>
          </p:nvPr>
        </p:nvSpPr>
        <p:spPr>
          <a:xfrm>
            <a:off x="337176" y="934757"/>
            <a:ext cx="10527038" cy="4795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20370" marR="0" lvl="0" indent="-21018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540"/>
              <a:buFont typeface="Arial" panose="020B0604020202020204"/>
              <a:buNone/>
              <a:defRPr sz="128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840105" marR="0" lvl="1" indent="-2914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400"/>
              <a:buFont typeface="Arial" panose="020B0604020202020204"/>
              <a:buChar char="•"/>
              <a:defRPr sz="128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1260475" marR="0" lvl="2" indent="-2914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400"/>
              <a:buFont typeface="Arial" panose="020B0604020202020204"/>
              <a:buChar char="–"/>
              <a:defRPr sz="128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1680210" marR="0" lvl="3" indent="-2914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400"/>
              <a:buFont typeface="Arial" panose="020B0604020202020204"/>
              <a:buChar char="•"/>
              <a:defRPr sz="128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2100580" marR="0" lvl="4" indent="-2914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400"/>
              <a:buFont typeface="Arial" panose="020B0604020202020204"/>
              <a:buChar char="–"/>
              <a:defRPr sz="128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2520315" marR="0" lvl="5" indent="-29146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 typeface="Arial" panose="020B0604020202020204"/>
              <a:buChar char="•"/>
              <a:defRPr sz="128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2940685" marR="0" lvl="6" indent="-29146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 typeface="Merriweather Sans"/>
              <a:buChar char="-"/>
              <a:defRPr sz="128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3360420" marR="0" lvl="7" indent="-29146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 typeface="Merriweather Sans"/>
              <a:buChar char="-"/>
              <a:defRPr sz="128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3780790" marR="0" lvl="8" indent="-29146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 typeface="Merriweather Sans"/>
              <a:buChar char="-"/>
              <a:defRPr sz="1285" b="0" i="0" u="none" strike="noStrike" cap="none">
                <a:solidFill>
                  <a:srgbClr val="3C464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cxnSp>
        <p:nvCxnSpPr>
          <p:cNvPr id="48" name="Google Shape;48;p5"/>
          <p:cNvCxnSpPr/>
          <p:nvPr/>
        </p:nvCxnSpPr>
        <p:spPr>
          <a:xfrm>
            <a:off x="442275" y="744967"/>
            <a:ext cx="10410173" cy="0"/>
          </a:xfrm>
          <a:prstGeom prst="straightConnector1">
            <a:avLst/>
          </a:prstGeom>
          <a:noFill/>
          <a:ln w="22225" cap="flat" cmpd="sng">
            <a:solidFill>
              <a:srgbClr val="0F653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06255808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113355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392452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840105" y="1957329"/>
            <a:ext cx="9521190" cy="135058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680210" y="3570447"/>
            <a:ext cx="7840980" cy="161020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20053" indent="0" algn="ctr">
              <a:buNone/>
              <a:defRPr/>
            </a:lvl2pPr>
            <a:lvl3pPr marL="840105" indent="0" algn="ctr">
              <a:buNone/>
              <a:defRPr/>
            </a:lvl3pPr>
            <a:lvl4pPr marL="1260158" indent="0" algn="ctr">
              <a:buNone/>
              <a:defRPr/>
            </a:lvl4pPr>
            <a:lvl5pPr marL="1680210" indent="0" algn="ctr">
              <a:buNone/>
              <a:defRPr/>
            </a:lvl5pPr>
            <a:lvl6pPr marL="2100263" indent="0" algn="ctr">
              <a:buNone/>
              <a:defRPr/>
            </a:lvl6pPr>
            <a:lvl7pPr marL="2520315" indent="0" algn="ctr">
              <a:buNone/>
              <a:defRPr/>
            </a:lvl7pPr>
            <a:lvl8pPr marL="2940368" indent="0" algn="ctr">
              <a:buNone/>
              <a:defRPr/>
            </a:lvl8pPr>
            <a:lvl9pPr marL="336042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Slide Number Placeholder 9">
            <a:extLst>
              <a:ext uri="{FF2B5EF4-FFF2-40B4-BE49-F238E27FC236}">
                <a16:creationId xmlns:a16="http://schemas.microsoft.com/office/drawing/2014/main" id="{C814E2EE-332C-4699-BC90-E77D7AB4F4A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BC11F9A-4AE5-4FD8-9568-80168CF0C3AF}" type="slidenum">
              <a:rPr lang="zh-CN" altLang="en-US"/>
              <a:pPr/>
              <a:t>‹#›</a:t>
            </a:fld>
            <a:endParaRPr lang="en-US" altLang="zh-CN" sz="1654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697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porate Visual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98615" y="2978346"/>
            <a:ext cx="7930602" cy="668081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2400" b="1" i="0" cap="none" spc="83" baseline="0">
                <a:solidFill>
                  <a:srgbClr val="FFFFFF"/>
                </a:solidFill>
                <a:latin typeface="+mn-lt"/>
                <a:ea typeface="+mj-ea"/>
                <a:cs typeface="Verdana" panose="020B0604030504040204"/>
              </a:defRPr>
            </a:lvl1pPr>
          </a:lstStyle>
          <a:p>
            <a:r>
              <a:rPr lang="en-GB" noProof="0"/>
              <a:t>Title of Presentation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704397" y="4044322"/>
            <a:ext cx="7924820" cy="316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22342" y="4175194"/>
            <a:ext cx="7917059" cy="47914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1600" b="0" cap="none" spc="0" baseline="0">
                <a:solidFill>
                  <a:srgbClr val="FFFFFF"/>
                </a:solidFill>
                <a:latin typeface="+mn-lt"/>
                <a:ea typeface="+mj-ea"/>
                <a:cs typeface="Verdana" panose="020B0604030504040204"/>
              </a:defRPr>
            </a:lvl1pPr>
          </a:lstStyle>
          <a:p>
            <a:pPr lvl="0"/>
            <a:r>
              <a:rPr lang="en-GB" noProof="0" dirty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22319" y="4696356"/>
            <a:ext cx="7917083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 b="0" cap="none" spc="0" baseline="0">
                <a:solidFill>
                  <a:srgbClr val="FFFFFF"/>
                </a:solidFill>
                <a:latin typeface="+mn-lt"/>
                <a:ea typeface="+mj-ea"/>
                <a:cs typeface="Verdana" panose="020B0604030504040204"/>
              </a:defRPr>
            </a:lvl1pPr>
          </a:lstStyle>
          <a:p>
            <a:pPr lvl="0"/>
            <a:r>
              <a:rPr lang="en-GB" noProof="0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7572994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06032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548459" y="1336976"/>
            <a:ext cx="10096091" cy="405730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082992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457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1904948"/>
            <a:ext cx="10096091" cy="348933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46910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548459" y="1336976"/>
            <a:ext cx="10096091" cy="405730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394026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796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246062"/>
            <a:ext cx="10096091" cy="31482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806926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106681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520317"/>
            <a:ext cx="10096091" cy="28739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550943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7371" y="1337176"/>
            <a:ext cx="4799105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258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845731" y="1337176"/>
            <a:ext cx="4799883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847396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10348170" y="5830549"/>
            <a:ext cx="303230" cy="183989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166574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4847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8478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0881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009277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7567653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568113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959555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1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3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240720289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1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3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48402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3348" tIns="99676" rIns="153348" bIns="153348" rtlCol="0" anchor="t" anchorCtr="0"/>
          <a:lstStyle/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</a:pPr>
            <a:endParaRPr lang="en-GB" sz="956" i="1">
              <a:solidFill>
                <a:prstClr val="white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53415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79343" marR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956" b="0" i="1" baseline="0">
                <a:solidFill>
                  <a:schemeClr val="bg1"/>
                </a:solidFill>
              </a:defRPr>
            </a:lvl1pPr>
            <a:lvl2pPr>
              <a:defRPr sz="1170" b="0" i="1">
                <a:solidFill>
                  <a:schemeClr val="bg1"/>
                </a:solidFill>
              </a:defRPr>
            </a:lvl2pPr>
            <a:lvl3pPr>
              <a:defRPr sz="1170" b="0" i="1">
                <a:solidFill>
                  <a:schemeClr val="bg1"/>
                </a:solidFill>
              </a:defRPr>
            </a:lvl3pPr>
            <a:lvl4pPr>
              <a:defRPr sz="1170" b="0" i="1">
                <a:solidFill>
                  <a:schemeClr val="bg1"/>
                </a:solidFill>
              </a:defRPr>
            </a:lvl4pPr>
            <a:lvl5pPr>
              <a:defRPr sz="1170" b="0" i="1">
                <a:solidFill>
                  <a:schemeClr val="bg1"/>
                </a:solidFill>
              </a:defRPr>
            </a:lvl5pPr>
          </a:lstStyle>
          <a:p>
            <a:pPr marL="79343" marR="0" lvl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170" b="0" i="1" noProof="0">
                <a:solidFill>
                  <a:schemeClr val="bg1"/>
                </a:solidFill>
              </a:rPr>
              <a:t>Caption or</a:t>
            </a:r>
            <a:r>
              <a:rPr lang="en-GB" sz="117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7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7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7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24926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9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26027986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9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874559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3348" tIns="99676" rIns="153348" bIns="153348" rtlCol="0" anchor="t" anchorCtr="0"/>
          <a:lstStyle/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</a:pPr>
            <a:endParaRPr lang="en-GB" sz="956" i="1">
              <a:solidFill>
                <a:prstClr val="white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974080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79343" marR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956" b="0" i="1">
                <a:solidFill>
                  <a:schemeClr val="bg1"/>
                </a:solidFill>
              </a:defRPr>
            </a:lvl1pPr>
            <a:lvl2pPr>
              <a:defRPr sz="1170" b="0" i="1">
                <a:solidFill>
                  <a:schemeClr val="bg1"/>
                </a:solidFill>
              </a:defRPr>
            </a:lvl2pPr>
            <a:lvl3pPr>
              <a:defRPr sz="1170" b="0" i="1">
                <a:solidFill>
                  <a:schemeClr val="bg1"/>
                </a:solidFill>
              </a:defRPr>
            </a:lvl3pPr>
            <a:lvl4pPr>
              <a:defRPr sz="1170" b="0" i="1">
                <a:solidFill>
                  <a:schemeClr val="bg1"/>
                </a:solidFill>
              </a:defRPr>
            </a:lvl4pPr>
            <a:lvl5pPr>
              <a:defRPr sz="1170" b="0" i="1">
                <a:solidFill>
                  <a:schemeClr val="bg1"/>
                </a:solidFill>
              </a:defRPr>
            </a:lvl5pPr>
          </a:lstStyle>
          <a:p>
            <a:pPr marL="79343" marR="0" lvl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170" b="0" i="1" noProof="0">
                <a:solidFill>
                  <a:schemeClr val="bg1"/>
                </a:solidFill>
              </a:rPr>
              <a:t>Caption or</a:t>
            </a:r>
            <a:r>
              <a:rPr lang="en-GB" sz="117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7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7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7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5363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55712" y="2238519"/>
            <a:ext cx="4783266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5851628" y="2238519"/>
            <a:ext cx="4797732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5851194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1347932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6870" y="1336534"/>
            <a:ext cx="10088804" cy="4066164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99"/>
            </a:lvl1pPr>
            <a:lvl2pPr>
              <a:lnSpc>
                <a:spcPct val="150000"/>
              </a:lnSpc>
              <a:defRPr sz="1599"/>
            </a:lvl2pPr>
            <a:lvl3pPr>
              <a:lnSpc>
                <a:spcPct val="150000"/>
              </a:lnSpc>
              <a:defRPr sz="1599"/>
            </a:lvl3pPr>
            <a:lvl4pPr>
              <a:lnSpc>
                <a:spcPct val="150000"/>
              </a:lnSpc>
              <a:defRPr sz="1599"/>
            </a:lvl4pPr>
            <a:lvl5pPr>
              <a:lnSpc>
                <a:spcPct val="150000"/>
              </a:lnSpc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71883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lIns="68580" tIns="34290" rIns="68580" bIns="34290"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3" y="2994088"/>
            <a:ext cx="5850010" cy="928821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defRPr sz="1715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3" y="4282307"/>
            <a:ext cx="5850010" cy="928821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defRPr sz="1715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lIns="68580" tIns="34290" rIns="68580" bIns="34290"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lIns="68580" tIns="34290" rIns="68580" bIns="34290"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3" y="1604996"/>
            <a:ext cx="5850010" cy="928821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defRPr sz="1715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4544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600700" y="1449894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451399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814916" y="1451399"/>
            <a:ext cx="4834444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2040" y="3556002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14916" y="3556002"/>
            <a:ext cx="4834444" cy="1681692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 kern="120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 kern="1200"/>
            </a:lvl3pPr>
            <a:lvl4pPr>
              <a:lnSpc>
                <a:spcPct val="100000"/>
              </a:lnSpc>
              <a:spcBef>
                <a:spcPts val="429"/>
              </a:spcBef>
              <a:defRPr sz="1170" kern="1200"/>
            </a:lvl4pPr>
            <a:lvl5pPr>
              <a:lnSpc>
                <a:spcPct val="100000"/>
              </a:lnSpc>
              <a:spcBef>
                <a:spcPts val="429"/>
              </a:spcBef>
              <a:defRPr sz="117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056528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00700" y="1449894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794446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795744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52040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553339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794446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5795744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64459037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2816" y="1627240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530066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52816" y="2925042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4692142" y="2827868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552816" y="4222843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692142" y="4125670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7643305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0553" y="1440160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46624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  <a:lvl2pPr>
              <a:lnSpc>
                <a:spcPts val="1917"/>
              </a:lnSpc>
              <a:defRPr sz="1280"/>
            </a:lvl2pPr>
            <a:lvl3pPr>
              <a:lnSpc>
                <a:spcPts val="1917"/>
              </a:lnSpc>
              <a:defRPr sz="1280"/>
            </a:lvl3pPr>
            <a:lvl4pPr>
              <a:lnSpc>
                <a:spcPts val="1917"/>
              </a:lnSpc>
              <a:defRPr sz="1280"/>
            </a:lvl4pPr>
            <a:lvl5pPr>
              <a:lnSpc>
                <a:spcPts val="1917"/>
              </a:lnSpc>
              <a:defRPr sz="12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48476" y="4197343"/>
            <a:ext cx="10101953" cy="11780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803292" y="1440160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799363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  <a:lvl2pPr>
              <a:lnSpc>
                <a:spcPts val="1917"/>
              </a:lnSpc>
              <a:defRPr sz="1280"/>
            </a:lvl2pPr>
            <a:lvl3pPr>
              <a:lnSpc>
                <a:spcPts val="1917"/>
              </a:lnSpc>
              <a:defRPr sz="1280"/>
            </a:lvl3pPr>
            <a:lvl4pPr>
              <a:lnSpc>
                <a:spcPts val="1917"/>
              </a:lnSpc>
              <a:defRPr sz="1280"/>
            </a:lvl4pPr>
            <a:lvl5pPr>
              <a:lnSpc>
                <a:spcPts val="1917"/>
              </a:lnSpc>
              <a:defRPr sz="12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09320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8317538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4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4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4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4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4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50982" y="1440160"/>
            <a:ext cx="2317148" cy="737426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623686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2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2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2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2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2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3087153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5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5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5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5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5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550620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3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3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3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3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3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3091044" y="1440160"/>
            <a:ext cx="2317148" cy="737426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5620520" y="1440160"/>
            <a:ext cx="2317148" cy="737426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8328484" y="1440160"/>
            <a:ext cx="2317148" cy="737426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139336466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1118" y="1392424"/>
            <a:ext cx="10102392" cy="382046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88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541116" y="1756591"/>
            <a:ext cx="10093892" cy="439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990286" y="3571228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541116" y="4973579"/>
            <a:ext cx="10093892" cy="353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 b="1" i="0">
                <a:solidFill>
                  <a:schemeClr val="accent1"/>
                </a:solidFill>
              </a:defRPr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990286" y="4497338"/>
            <a:ext cx="9652554" cy="30945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541116" y="2181983"/>
            <a:ext cx="10093892" cy="12778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 b="0" baseline="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990286" y="3879684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990286" y="4188140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544079" y="357307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544079" y="387839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544079" y="418760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544079" y="4497134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28621472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porate Visual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708802" y="2630949"/>
            <a:ext cx="7930602" cy="66808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2205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/>
              <a:t>Title of Presentation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08808" y="3417254"/>
            <a:ext cx="7930594" cy="51655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70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704397" y="4044374"/>
            <a:ext cx="7924820" cy="316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22342" y="4175245"/>
            <a:ext cx="7917060" cy="47914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22335" y="4696356"/>
            <a:ext cx="7917083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/>
              <a:t>Click to Add Date</a:t>
            </a: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973900"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defTabSz="973900"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07355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5" y="2290061"/>
            <a:ext cx="9854563" cy="32221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5" y="1337177"/>
            <a:ext cx="9854563" cy="91821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5600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2450" b="1" i="0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5600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4010853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2" y="299408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2" y="4282251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604939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6355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53415" y="1417677"/>
            <a:ext cx="9707880" cy="41830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803AF9-D833-47DF-8CAE-0304519F95B7}" type="slidenum">
              <a:rPr lang="en-GB" altLang="zh-CN"/>
              <a:t>‹#›</a:t>
            </a:fld>
            <a:endParaRPr lang="en-GB" altLang="zh-CN"/>
          </a:p>
        </p:txBody>
      </p:sp>
    </p:spTree>
    <p:extLst>
      <p:ext uri="{BB962C8B-B14F-4D97-AF65-F5344CB8AC3E}">
        <p14:creationId xmlns:p14="http://schemas.microsoft.com/office/powerpoint/2010/main" val="2903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560070" y="5839898"/>
            <a:ext cx="2613660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827145" y="5839898"/>
            <a:ext cx="3547110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027670" y="5839898"/>
            <a:ext cx="2613660" cy="335459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3921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1302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8/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7944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12092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44938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548459" y="1336976"/>
            <a:ext cx="10096091" cy="405730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27892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457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1904948"/>
            <a:ext cx="10096091" cy="348933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541512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796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246062"/>
            <a:ext cx="10096091" cy="31482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41796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106681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520317"/>
            <a:ext cx="10096091" cy="28739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664113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7371" y="1337176"/>
            <a:ext cx="4799105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258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845731" y="1337176"/>
            <a:ext cx="4799883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847396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10348170" y="5830549"/>
            <a:ext cx="303230" cy="183989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61043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4847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8478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0881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009277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7567653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568113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81993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Divider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86025" y="1900564"/>
            <a:ext cx="9451762" cy="7834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715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886034" y="863419"/>
            <a:ext cx="9451766" cy="8187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675"/>
              </a:lnSpc>
              <a:defRPr sz="3063" b="0" i="0" cap="none" spc="61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 smtClean="0"/>
              <a:t>Divider Slide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9807282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1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3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68928079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1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3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48402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3348" tIns="99676" rIns="153348" bIns="153348" rtlCol="0" anchor="t" anchorCtr="0"/>
          <a:lstStyle/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</a:pPr>
            <a:endParaRPr lang="en-GB" sz="956" i="1">
              <a:solidFill>
                <a:prstClr val="white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53415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79343" marR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956" b="0" i="1" baseline="0">
                <a:solidFill>
                  <a:schemeClr val="bg1"/>
                </a:solidFill>
              </a:defRPr>
            </a:lvl1pPr>
            <a:lvl2pPr>
              <a:defRPr sz="1170" b="0" i="1">
                <a:solidFill>
                  <a:schemeClr val="bg1"/>
                </a:solidFill>
              </a:defRPr>
            </a:lvl2pPr>
            <a:lvl3pPr>
              <a:defRPr sz="1170" b="0" i="1">
                <a:solidFill>
                  <a:schemeClr val="bg1"/>
                </a:solidFill>
              </a:defRPr>
            </a:lvl3pPr>
            <a:lvl4pPr>
              <a:defRPr sz="1170" b="0" i="1">
                <a:solidFill>
                  <a:schemeClr val="bg1"/>
                </a:solidFill>
              </a:defRPr>
            </a:lvl4pPr>
            <a:lvl5pPr>
              <a:defRPr sz="1170" b="0" i="1">
                <a:solidFill>
                  <a:schemeClr val="bg1"/>
                </a:solidFill>
              </a:defRPr>
            </a:lvl5pPr>
          </a:lstStyle>
          <a:p>
            <a:pPr marL="79343" marR="0" lvl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170" b="0" i="1" noProof="0">
                <a:solidFill>
                  <a:schemeClr val="bg1"/>
                </a:solidFill>
              </a:rPr>
              <a:t>Caption or</a:t>
            </a:r>
            <a:r>
              <a:rPr lang="en-GB" sz="117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7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7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7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84058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9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347633004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9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874559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3348" tIns="99676" rIns="153348" bIns="153348" rtlCol="0" anchor="t" anchorCtr="0"/>
          <a:lstStyle/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</a:pPr>
            <a:endParaRPr lang="en-GB" sz="956" i="1">
              <a:solidFill>
                <a:prstClr val="white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974080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79343" marR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956" b="0" i="1">
                <a:solidFill>
                  <a:schemeClr val="bg1"/>
                </a:solidFill>
              </a:defRPr>
            </a:lvl1pPr>
            <a:lvl2pPr>
              <a:defRPr sz="1170" b="0" i="1">
                <a:solidFill>
                  <a:schemeClr val="bg1"/>
                </a:solidFill>
              </a:defRPr>
            </a:lvl2pPr>
            <a:lvl3pPr>
              <a:defRPr sz="1170" b="0" i="1">
                <a:solidFill>
                  <a:schemeClr val="bg1"/>
                </a:solidFill>
              </a:defRPr>
            </a:lvl3pPr>
            <a:lvl4pPr>
              <a:defRPr sz="1170" b="0" i="1">
                <a:solidFill>
                  <a:schemeClr val="bg1"/>
                </a:solidFill>
              </a:defRPr>
            </a:lvl4pPr>
            <a:lvl5pPr>
              <a:defRPr sz="1170" b="0" i="1">
                <a:solidFill>
                  <a:schemeClr val="bg1"/>
                </a:solidFill>
              </a:defRPr>
            </a:lvl5pPr>
          </a:lstStyle>
          <a:p>
            <a:pPr marL="79343" marR="0" lvl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170" b="0" i="1" noProof="0">
                <a:solidFill>
                  <a:schemeClr val="bg1"/>
                </a:solidFill>
              </a:rPr>
              <a:t>Caption or</a:t>
            </a:r>
            <a:r>
              <a:rPr lang="en-GB" sz="117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7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7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7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90423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55712" y="2238519"/>
            <a:ext cx="4783266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5851628" y="2238519"/>
            <a:ext cx="4797732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5851194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51160275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6870" y="1336534"/>
            <a:ext cx="10088804" cy="4066164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99"/>
            </a:lvl1pPr>
            <a:lvl2pPr>
              <a:lnSpc>
                <a:spcPct val="150000"/>
              </a:lnSpc>
              <a:defRPr sz="1599"/>
            </a:lvl2pPr>
            <a:lvl3pPr>
              <a:lnSpc>
                <a:spcPct val="150000"/>
              </a:lnSpc>
              <a:defRPr sz="1599"/>
            </a:lvl3pPr>
            <a:lvl4pPr>
              <a:lnSpc>
                <a:spcPct val="150000"/>
              </a:lnSpc>
              <a:defRPr sz="1599"/>
            </a:lvl4pPr>
            <a:lvl5pPr>
              <a:lnSpc>
                <a:spcPct val="150000"/>
              </a:lnSpc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609855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600700" y="1449894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451399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814916" y="1451399"/>
            <a:ext cx="4834444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2040" y="3556002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14916" y="3556002"/>
            <a:ext cx="4834444" cy="1681692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 kern="120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 kern="1200"/>
            </a:lvl3pPr>
            <a:lvl4pPr>
              <a:lnSpc>
                <a:spcPct val="100000"/>
              </a:lnSpc>
              <a:spcBef>
                <a:spcPts val="429"/>
              </a:spcBef>
              <a:defRPr sz="1170" kern="1200"/>
            </a:lvl4pPr>
            <a:lvl5pPr>
              <a:lnSpc>
                <a:spcPct val="100000"/>
              </a:lnSpc>
              <a:spcBef>
                <a:spcPts val="429"/>
              </a:spcBef>
              <a:defRPr sz="117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110598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00700" y="1449894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794446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795744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52040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553339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794446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5795744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46290935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2816" y="1627240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530066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52816" y="2925042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4692142" y="2827868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552816" y="4222843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692142" y="4125670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048021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0553" y="1440160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46624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  <a:lvl2pPr>
              <a:lnSpc>
                <a:spcPts val="1917"/>
              </a:lnSpc>
              <a:defRPr sz="1280"/>
            </a:lvl2pPr>
            <a:lvl3pPr>
              <a:lnSpc>
                <a:spcPts val="1917"/>
              </a:lnSpc>
              <a:defRPr sz="1280"/>
            </a:lvl3pPr>
            <a:lvl4pPr>
              <a:lnSpc>
                <a:spcPts val="1917"/>
              </a:lnSpc>
              <a:defRPr sz="1280"/>
            </a:lvl4pPr>
            <a:lvl5pPr>
              <a:lnSpc>
                <a:spcPts val="1917"/>
              </a:lnSpc>
              <a:defRPr sz="12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48476" y="4197343"/>
            <a:ext cx="10101953" cy="11780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803292" y="1440160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799363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  <a:lvl2pPr>
              <a:lnSpc>
                <a:spcPts val="1917"/>
              </a:lnSpc>
              <a:defRPr sz="1280"/>
            </a:lvl2pPr>
            <a:lvl3pPr>
              <a:lnSpc>
                <a:spcPts val="1917"/>
              </a:lnSpc>
              <a:defRPr sz="1280"/>
            </a:lvl3pPr>
            <a:lvl4pPr>
              <a:lnSpc>
                <a:spcPts val="1917"/>
              </a:lnSpc>
              <a:defRPr sz="1280"/>
            </a:lvl4pPr>
            <a:lvl5pPr>
              <a:lnSpc>
                <a:spcPts val="1917"/>
              </a:lnSpc>
              <a:defRPr sz="12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4585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08838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8317538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4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4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4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4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4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50982" y="1440160"/>
            <a:ext cx="2317148" cy="737426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623686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2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2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2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2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2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3087153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5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5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5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5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5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550620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3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3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3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3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3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3091044" y="1440160"/>
            <a:ext cx="2317148" cy="737426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5620520" y="1440160"/>
            <a:ext cx="2317148" cy="737426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8328484" y="1440160"/>
            <a:ext cx="2317148" cy="737426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178908715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1118" y="1392424"/>
            <a:ext cx="10102392" cy="382046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88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541116" y="1756591"/>
            <a:ext cx="10093892" cy="439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990286" y="3571228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541116" y="4973579"/>
            <a:ext cx="10093892" cy="353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 b="1" i="0">
                <a:solidFill>
                  <a:schemeClr val="accent1"/>
                </a:solidFill>
              </a:defRPr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990286" y="4497338"/>
            <a:ext cx="9652554" cy="30945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541116" y="2181983"/>
            <a:ext cx="10093892" cy="12778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 b="0" baseline="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990286" y="3879684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990286" y="4188140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544079" y="357307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544079" y="387839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544079" y="418760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544079" y="4497134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94711591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porate Visual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708802" y="2630949"/>
            <a:ext cx="7930602" cy="66808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2205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/>
              <a:t>Title of Presentation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08808" y="3417254"/>
            <a:ext cx="7930594" cy="51655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70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704397" y="4044374"/>
            <a:ext cx="7924820" cy="316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22342" y="4175245"/>
            <a:ext cx="7917060" cy="47914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22335" y="4696356"/>
            <a:ext cx="7917083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/>
              <a:t>Click to Add Date</a:t>
            </a: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973900"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defTabSz="973900"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048500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5" y="2290061"/>
            <a:ext cx="9854563" cy="32221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5" y="1337177"/>
            <a:ext cx="9854563" cy="91821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5600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2450" b="1" i="0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5600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1910743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2" y="299408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2" y="4282251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604939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063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53415" y="1417677"/>
            <a:ext cx="9707880" cy="41830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803AF9-D833-47DF-8CAE-0304519F95B7}" type="slidenum">
              <a:rPr lang="en-GB" altLang="zh-CN"/>
              <a:t>‹#›</a:t>
            </a:fld>
            <a:endParaRPr lang="en-GB" altLang="zh-CN"/>
          </a:p>
        </p:txBody>
      </p:sp>
    </p:spTree>
    <p:extLst>
      <p:ext uri="{BB962C8B-B14F-4D97-AF65-F5344CB8AC3E}">
        <p14:creationId xmlns:p14="http://schemas.microsoft.com/office/powerpoint/2010/main" val="38765579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47578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4/8/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153091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21692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97753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40455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548458" y="1336976"/>
            <a:ext cx="10096091" cy="4057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838"/>
            </a:lvl1pPr>
            <a:lvl2pPr>
              <a:defRPr sz="1838"/>
            </a:lvl2pPr>
            <a:lvl3pPr>
              <a:defRPr sz="1838"/>
            </a:lvl3pPr>
            <a:lvl4pPr>
              <a:defRPr sz="1838"/>
            </a:lvl4pPr>
            <a:lvl5pPr>
              <a:defRPr sz="183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1264091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6"/>
            <a:ext cx="10101953" cy="457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8" y="1904948"/>
            <a:ext cx="10096091" cy="348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838"/>
            </a:lvl1pPr>
            <a:lvl2pPr>
              <a:defRPr sz="1838"/>
            </a:lvl2pPr>
            <a:lvl3pPr>
              <a:defRPr sz="1838"/>
            </a:lvl3pPr>
            <a:lvl4pPr>
              <a:defRPr sz="1838"/>
            </a:lvl4pPr>
            <a:lvl5pPr>
              <a:defRPr sz="183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9596463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796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Main idea, quote, or phrase two lines and under may go in this text box. </a:t>
            </a:r>
            <a:endParaRPr lang="en-GB" noProof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8" y="2246060"/>
            <a:ext cx="10096091" cy="3148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838"/>
            </a:lvl1pPr>
            <a:lvl2pPr>
              <a:defRPr sz="1838"/>
            </a:lvl2pPr>
            <a:lvl3pPr>
              <a:defRPr sz="1838"/>
            </a:lvl3pPr>
            <a:lvl4pPr>
              <a:defRPr sz="1838"/>
            </a:lvl4pPr>
            <a:lvl5pPr>
              <a:defRPr sz="183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4689357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106681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56001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2205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56001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noProof="0" smtClean="0"/>
              <a:t>Click to edit text. Main idea, quote, or phrase three lines and under may go in this text box. For text over three lines adjust the size of this box.</a:t>
            </a:r>
            <a:endParaRPr lang="en-GB" noProof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8" y="2520317"/>
            <a:ext cx="10096091" cy="2873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838"/>
            </a:lvl1pPr>
            <a:lvl2pPr>
              <a:defRPr sz="1838"/>
            </a:lvl2pPr>
            <a:lvl3pPr>
              <a:defRPr sz="1838"/>
            </a:lvl3pPr>
            <a:lvl4pPr>
              <a:defRPr sz="1838"/>
            </a:lvl4pPr>
            <a:lvl5pPr>
              <a:defRPr sz="183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0853763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7370" y="1337176"/>
            <a:ext cx="4799105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256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593"/>
            </a:lvl1pPr>
            <a:lvl2pPr>
              <a:lnSpc>
                <a:spcPct val="100000"/>
              </a:lnSpc>
              <a:buClr>
                <a:schemeClr val="accent1"/>
              </a:buClr>
              <a:defRPr sz="1593"/>
            </a:lvl2pPr>
            <a:lvl3pPr>
              <a:lnSpc>
                <a:spcPct val="100000"/>
              </a:lnSpc>
              <a:buClr>
                <a:schemeClr val="accent1"/>
              </a:buClr>
              <a:defRPr sz="1593"/>
            </a:lvl3pPr>
            <a:lvl4pPr>
              <a:lnSpc>
                <a:spcPct val="100000"/>
              </a:lnSpc>
              <a:buClr>
                <a:schemeClr val="accent1"/>
              </a:buClr>
              <a:defRPr sz="1593"/>
            </a:lvl4pPr>
            <a:lvl5pPr>
              <a:lnSpc>
                <a:spcPct val="100000"/>
              </a:lnSpc>
              <a:buClr>
                <a:schemeClr val="accent1"/>
              </a:buClr>
              <a:defRPr sz="1593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845731" y="1337176"/>
            <a:ext cx="4799883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847396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593"/>
            </a:lvl1pPr>
            <a:lvl2pPr>
              <a:lnSpc>
                <a:spcPct val="100000"/>
              </a:lnSpc>
              <a:buClr>
                <a:schemeClr val="accent1"/>
              </a:buClr>
              <a:defRPr sz="1593"/>
            </a:lvl2pPr>
            <a:lvl3pPr>
              <a:lnSpc>
                <a:spcPct val="100000"/>
              </a:lnSpc>
              <a:buClr>
                <a:schemeClr val="accent1"/>
              </a:buClr>
              <a:defRPr sz="1593"/>
            </a:lvl3pPr>
            <a:lvl4pPr>
              <a:lnSpc>
                <a:spcPct val="100000"/>
              </a:lnSpc>
              <a:buClr>
                <a:schemeClr val="accent1"/>
              </a:buClr>
              <a:defRPr sz="1593"/>
            </a:lvl4pPr>
            <a:lvl5pPr>
              <a:lnSpc>
                <a:spcPct val="100000"/>
              </a:lnSpc>
              <a:buClr>
                <a:schemeClr val="accent1"/>
              </a:buClr>
              <a:defRPr sz="1593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10348170" y="5830548"/>
            <a:ext cx="303230" cy="183989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1600698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4847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38" b="1" i="0" baseline="0"/>
            </a:lvl1pPr>
          </a:lstStyle>
          <a:p>
            <a:pPr lvl="0"/>
            <a:r>
              <a:rPr lang="en-GB" noProof="0" smtClean="0"/>
              <a:t>Click to edit heading </a:t>
            </a:r>
            <a:endParaRPr lang="en-GB" noProof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8477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48"/>
            </a:lvl1pPr>
            <a:lvl2pPr>
              <a:lnSpc>
                <a:spcPct val="100000"/>
              </a:lnSpc>
              <a:buClr>
                <a:schemeClr val="accent1"/>
              </a:buClr>
              <a:defRPr sz="1348"/>
            </a:lvl2pPr>
            <a:lvl3pPr>
              <a:lnSpc>
                <a:spcPct val="100000"/>
              </a:lnSpc>
              <a:buClr>
                <a:schemeClr val="accent1"/>
              </a:buClr>
              <a:defRPr sz="1348"/>
            </a:lvl3pPr>
            <a:lvl4pPr>
              <a:lnSpc>
                <a:spcPct val="100000"/>
              </a:lnSpc>
              <a:buClr>
                <a:schemeClr val="accent1"/>
              </a:buClr>
              <a:defRPr sz="1348"/>
            </a:lvl4pPr>
            <a:lvl5pPr>
              <a:lnSpc>
                <a:spcPct val="100000"/>
              </a:lnSpc>
              <a:buClr>
                <a:schemeClr val="accent1"/>
              </a:buClr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0881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38" b="1" i="0" baseline="0"/>
            </a:lvl1pPr>
          </a:lstStyle>
          <a:p>
            <a:pPr lvl="0"/>
            <a:r>
              <a:rPr lang="en-GB" noProof="0" smtClean="0"/>
              <a:t>Click to edit heading </a:t>
            </a:r>
            <a:endParaRPr lang="en-GB" noProof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009276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48"/>
            </a:lvl1pPr>
            <a:lvl2pPr>
              <a:lnSpc>
                <a:spcPct val="100000"/>
              </a:lnSpc>
              <a:buClr>
                <a:schemeClr val="accent1"/>
              </a:buClr>
              <a:defRPr sz="1348"/>
            </a:lvl2pPr>
            <a:lvl3pPr>
              <a:lnSpc>
                <a:spcPct val="100000"/>
              </a:lnSpc>
              <a:buClr>
                <a:schemeClr val="accent1"/>
              </a:buClr>
              <a:defRPr sz="1348"/>
            </a:lvl3pPr>
            <a:lvl4pPr>
              <a:lnSpc>
                <a:spcPct val="100000"/>
              </a:lnSpc>
              <a:buClr>
                <a:schemeClr val="accent1"/>
              </a:buClr>
              <a:defRPr sz="1348"/>
            </a:lvl4pPr>
            <a:lvl5pPr>
              <a:lnSpc>
                <a:spcPct val="100000"/>
              </a:lnSpc>
              <a:buClr>
                <a:schemeClr val="accent1"/>
              </a:buClr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7567653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38" b="1" i="0" baseline="0"/>
            </a:lvl1pPr>
          </a:lstStyle>
          <a:p>
            <a:pPr lvl="0"/>
            <a:r>
              <a:rPr lang="en-GB" noProof="0" smtClean="0"/>
              <a:t>Click to edit heading </a:t>
            </a:r>
            <a:endParaRPr lang="en-GB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568112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48"/>
            </a:lvl1pPr>
            <a:lvl2pPr>
              <a:lnSpc>
                <a:spcPct val="100000"/>
              </a:lnSpc>
              <a:buClr>
                <a:schemeClr val="accent1"/>
              </a:buClr>
              <a:defRPr sz="1348"/>
            </a:lvl2pPr>
            <a:lvl3pPr>
              <a:lnSpc>
                <a:spcPct val="100000"/>
              </a:lnSpc>
              <a:buClr>
                <a:schemeClr val="accent1"/>
              </a:buClr>
              <a:defRPr sz="1348"/>
            </a:lvl3pPr>
            <a:lvl4pPr>
              <a:lnSpc>
                <a:spcPct val="100000"/>
              </a:lnSpc>
              <a:buClr>
                <a:schemeClr val="accent1"/>
              </a:buClr>
              <a:defRPr sz="1348"/>
            </a:lvl4pPr>
            <a:lvl5pPr>
              <a:lnSpc>
                <a:spcPct val="100000"/>
              </a:lnSpc>
              <a:buClr>
                <a:schemeClr val="accent1"/>
              </a:buClr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5575488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593"/>
            </a:lvl1pPr>
            <a:lvl2pPr>
              <a:lnSpc>
                <a:spcPct val="100000"/>
              </a:lnSpc>
              <a:buClr>
                <a:schemeClr val="accent1"/>
              </a:buClr>
              <a:defRPr sz="1593"/>
            </a:lvl2pPr>
            <a:lvl3pPr>
              <a:lnSpc>
                <a:spcPct val="100000"/>
              </a:lnSpc>
              <a:buClr>
                <a:schemeClr val="accent1"/>
              </a:buClr>
              <a:defRPr sz="1593"/>
            </a:lvl3pPr>
            <a:lvl4pPr>
              <a:lnSpc>
                <a:spcPct val="100000"/>
              </a:lnSpc>
              <a:buClr>
                <a:schemeClr val="accent1"/>
              </a:buClr>
              <a:defRPr sz="1593"/>
            </a:lvl4pPr>
            <a:lvl5pPr>
              <a:lnSpc>
                <a:spcPct val="100000"/>
              </a:lnSpc>
              <a:buClr>
                <a:schemeClr val="accent1"/>
              </a:buClr>
              <a:defRPr sz="1593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69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2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715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9590935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69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593"/>
            </a:lvl1pPr>
            <a:lvl2pPr>
              <a:lnSpc>
                <a:spcPct val="100000"/>
              </a:lnSpc>
              <a:buClr>
                <a:schemeClr val="accent1"/>
              </a:buClr>
              <a:defRPr sz="1593"/>
            </a:lvl2pPr>
            <a:lvl3pPr>
              <a:lnSpc>
                <a:spcPct val="100000"/>
              </a:lnSpc>
              <a:buClr>
                <a:schemeClr val="accent1"/>
              </a:buClr>
              <a:defRPr sz="1593"/>
            </a:lvl3pPr>
            <a:lvl4pPr>
              <a:lnSpc>
                <a:spcPct val="100000"/>
              </a:lnSpc>
              <a:buClr>
                <a:schemeClr val="accent1"/>
              </a:buClr>
              <a:defRPr sz="1593"/>
            </a:lvl4pPr>
            <a:lvl5pPr>
              <a:lnSpc>
                <a:spcPct val="100000"/>
              </a:lnSpc>
              <a:buClr>
                <a:schemeClr val="accent1"/>
              </a:buClr>
              <a:defRPr sz="1593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2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715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548402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6400" tIns="114660" rIns="176400" bIns="176400" rtlCol="0" anchor="t" anchorCtr="0"/>
          <a:lstStyle/>
          <a:p>
            <a:pPr marL="0" marR="0" indent="0" algn="l" defTabSz="112003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3" b="0" i="1" noProof="0" dirty="0" smtClean="0">
              <a:solidFill>
                <a:schemeClr val="bg1"/>
              </a:solidFill>
            </a:endParaRPr>
          </a:p>
          <a:p>
            <a:pPr marL="0" marR="0" indent="0" algn="l" defTabSz="112003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3" b="0" i="1" noProof="0" dirty="0" smtClean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1103" b="0" i="1" noProof="0" dirty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53415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90956" marR="0" indent="0" algn="l" defTabSz="560015" rtl="0" eaLnBrk="1" fontAlgn="base" latinLnBrk="0" hangingPunct="1">
              <a:lnSpc>
                <a:spcPct val="110000"/>
              </a:lnSpc>
              <a:spcBef>
                <a:spcPts val="49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103" b="0" i="1" baseline="0">
                <a:solidFill>
                  <a:schemeClr val="bg1"/>
                </a:solidFill>
              </a:defRPr>
            </a:lvl1pPr>
            <a:lvl2pPr>
              <a:defRPr sz="1348" b="0" i="1">
                <a:solidFill>
                  <a:schemeClr val="bg1"/>
                </a:solidFill>
              </a:defRPr>
            </a:lvl2pPr>
            <a:lvl3pPr>
              <a:defRPr sz="1348" b="0" i="1">
                <a:solidFill>
                  <a:schemeClr val="bg1"/>
                </a:solidFill>
              </a:defRPr>
            </a:lvl3pPr>
            <a:lvl4pPr>
              <a:defRPr sz="1348" b="0" i="1">
                <a:solidFill>
                  <a:schemeClr val="bg1"/>
                </a:solidFill>
              </a:defRPr>
            </a:lvl4pPr>
            <a:lvl5pPr>
              <a:defRPr sz="1348" b="0" i="1">
                <a:solidFill>
                  <a:schemeClr val="bg1"/>
                </a:solidFill>
              </a:defRPr>
            </a:lvl5pPr>
          </a:lstStyle>
          <a:p>
            <a:pPr marL="90956" marR="0" lvl="0" indent="0" algn="l" defTabSz="560015" rtl="0" eaLnBrk="1" fontAlgn="base" latinLnBrk="0" hangingPunct="1">
              <a:lnSpc>
                <a:spcPct val="110000"/>
              </a:lnSpc>
              <a:spcBef>
                <a:spcPts val="49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348" b="0" i="1" noProof="0" dirty="0" smtClean="0">
                <a:solidFill>
                  <a:schemeClr val="bg1"/>
                </a:solidFill>
              </a:rPr>
              <a:t>Caption or</a:t>
            </a:r>
            <a:r>
              <a:rPr lang="en-GB" sz="1348" b="0" i="1" baseline="0" noProof="0" dirty="0" smtClean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348" b="0" i="1" noProof="0" dirty="0" smtClean="0">
                <a:solidFill>
                  <a:schemeClr val="bg1"/>
                </a:solidFill>
              </a:rPr>
              <a:t>You may adjust the height of this box</a:t>
            </a:r>
            <a:r>
              <a:rPr lang="en-GB" sz="1348" b="0" i="1" baseline="0" noProof="0" dirty="0" smtClean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348" b="0" i="1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47110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8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593"/>
            </a:lvl1pPr>
            <a:lvl2pPr>
              <a:lnSpc>
                <a:spcPct val="100000"/>
              </a:lnSpc>
              <a:buClr>
                <a:schemeClr val="accent1"/>
              </a:buClr>
              <a:defRPr sz="1593"/>
            </a:lvl2pPr>
            <a:lvl3pPr>
              <a:lnSpc>
                <a:spcPct val="100000"/>
              </a:lnSpc>
              <a:buClr>
                <a:schemeClr val="accent1"/>
              </a:buClr>
              <a:defRPr sz="1593"/>
            </a:lvl3pPr>
            <a:lvl4pPr>
              <a:lnSpc>
                <a:spcPct val="100000"/>
              </a:lnSpc>
              <a:buClr>
                <a:schemeClr val="accent1"/>
              </a:buClr>
              <a:defRPr sz="1593"/>
            </a:lvl4pPr>
            <a:lvl5pPr>
              <a:lnSpc>
                <a:spcPct val="100000"/>
              </a:lnSpc>
              <a:buClr>
                <a:schemeClr val="accent1"/>
              </a:buClr>
              <a:defRPr sz="1593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715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4103217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8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593"/>
            </a:lvl1pPr>
            <a:lvl2pPr>
              <a:lnSpc>
                <a:spcPct val="100000"/>
              </a:lnSpc>
              <a:buClr>
                <a:schemeClr val="accent1"/>
              </a:buClr>
              <a:defRPr sz="1593"/>
            </a:lvl2pPr>
            <a:lvl3pPr>
              <a:lnSpc>
                <a:spcPct val="100000"/>
              </a:lnSpc>
              <a:buClr>
                <a:schemeClr val="accent1"/>
              </a:buClr>
              <a:defRPr sz="1593"/>
            </a:lvl3pPr>
            <a:lvl4pPr>
              <a:lnSpc>
                <a:spcPct val="100000"/>
              </a:lnSpc>
              <a:buClr>
                <a:schemeClr val="accent1"/>
              </a:buClr>
              <a:defRPr sz="1593"/>
            </a:lvl4pPr>
            <a:lvl5pPr>
              <a:lnSpc>
                <a:spcPct val="100000"/>
              </a:lnSpc>
              <a:buClr>
                <a:schemeClr val="accent1"/>
              </a:buClr>
              <a:defRPr sz="1593"/>
            </a:lvl5pPr>
          </a:lstStyle>
          <a:p>
            <a:pPr lvl="0"/>
            <a:r>
              <a:rPr lang="en-GB" noProof="0" dirty="0" smtClean="0"/>
              <a:t>Add text here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715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  <p:sp>
        <p:nvSpPr>
          <p:cNvPr id="24" name="Rectangle 23"/>
          <p:cNvSpPr/>
          <p:nvPr userDrawn="1"/>
        </p:nvSpPr>
        <p:spPr>
          <a:xfrm>
            <a:off x="5874558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6400" tIns="114660" rIns="176400" bIns="176400" rtlCol="0" anchor="t" anchorCtr="0"/>
          <a:lstStyle/>
          <a:p>
            <a:pPr marL="0" marR="0" indent="0" algn="l" defTabSz="112003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3" b="0" i="1" noProof="0" dirty="0" smtClean="0">
              <a:solidFill>
                <a:schemeClr val="bg1"/>
              </a:solidFill>
            </a:endParaRPr>
          </a:p>
          <a:p>
            <a:pPr marL="0" marR="0" indent="0" algn="l" defTabSz="112003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3" b="0" i="1" noProof="0" dirty="0" smtClean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1103" b="0" i="1" noProof="0" dirty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974080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90956" marR="0" indent="0" algn="l" defTabSz="560015" rtl="0" eaLnBrk="1" fontAlgn="base" latinLnBrk="0" hangingPunct="1">
              <a:lnSpc>
                <a:spcPct val="110000"/>
              </a:lnSpc>
              <a:spcBef>
                <a:spcPts val="49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103" b="0" i="1">
                <a:solidFill>
                  <a:schemeClr val="bg1"/>
                </a:solidFill>
              </a:defRPr>
            </a:lvl1pPr>
            <a:lvl2pPr>
              <a:defRPr sz="1348" b="0" i="1">
                <a:solidFill>
                  <a:schemeClr val="bg1"/>
                </a:solidFill>
              </a:defRPr>
            </a:lvl2pPr>
            <a:lvl3pPr>
              <a:defRPr sz="1348" b="0" i="1">
                <a:solidFill>
                  <a:schemeClr val="bg1"/>
                </a:solidFill>
              </a:defRPr>
            </a:lvl3pPr>
            <a:lvl4pPr>
              <a:defRPr sz="1348" b="0" i="1">
                <a:solidFill>
                  <a:schemeClr val="bg1"/>
                </a:solidFill>
              </a:defRPr>
            </a:lvl4pPr>
            <a:lvl5pPr>
              <a:defRPr sz="1348" b="0" i="1">
                <a:solidFill>
                  <a:schemeClr val="bg1"/>
                </a:solidFill>
              </a:defRPr>
            </a:lvl5pPr>
          </a:lstStyle>
          <a:p>
            <a:pPr marL="90956" marR="0" lvl="0" indent="0" algn="l" defTabSz="560015" rtl="0" eaLnBrk="1" fontAlgn="base" latinLnBrk="0" hangingPunct="1">
              <a:lnSpc>
                <a:spcPct val="110000"/>
              </a:lnSpc>
              <a:spcBef>
                <a:spcPts val="49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348" b="0" i="1" noProof="0" dirty="0" smtClean="0">
                <a:solidFill>
                  <a:schemeClr val="bg1"/>
                </a:solidFill>
              </a:rPr>
              <a:t>Caption or</a:t>
            </a:r>
            <a:r>
              <a:rPr lang="en-GB" sz="1348" b="0" i="1" baseline="0" noProof="0" dirty="0" smtClean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348" b="0" i="1" noProof="0" dirty="0" smtClean="0">
                <a:solidFill>
                  <a:schemeClr val="bg1"/>
                </a:solidFill>
              </a:rPr>
              <a:t>You may adjust the height of this box</a:t>
            </a:r>
            <a:r>
              <a:rPr lang="en-GB" sz="1348" b="0" i="1" baseline="0" noProof="0" dirty="0" smtClean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348" b="0" i="1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6266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3" name="矩形 2"/>
          <p:cNvSpPr/>
          <p:nvPr userDrawn="1"/>
        </p:nvSpPr>
        <p:spPr>
          <a:xfrm>
            <a:off x="342900" y="864394"/>
            <a:ext cx="10439400" cy="762000"/>
          </a:xfrm>
          <a:prstGeom prst="rect">
            <a:avLst/>
          </a:prstGeom>
          <a:solidFill>
            <a:schemeClr val="bg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265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55712" y="2238518"/>
            <a:ext cx="4783266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715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5851628" y="2238518"/>
            <a:ext cx="4797732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715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5851194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205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1162015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6869" y="1336533"/>
            <a:ext cx="10088804" cy="4066164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838"/>
            </a:lvl1pPr>
            <a:lvl2pPr>
              <a:lnSpc>
                <a:spcPct val="150000"/>
              </a:lnSpc>
              <a:defRPr sz="1838"/>
            </a:lvl2pPr>
            <a:lvl3pPr>
              <a:lnSpc>
                <a:spcPct val="150000"/>
              </a:lnSpc>
              <a:defRPr sz="1838"/>
            </a:lvl3pPr>
            <a:lvl4pPr>
              <a:lnSpc>
                <a:spcPct val="150000"/>
              </a:lnSpc>
              <a:defRPr sz="1838"/>
            </a:lvl4pPr>
            <a:lvl5pPr>
              <a:lnSpc>
                <a:spcPct val="150000"/>
              </a:lnSpc>
              <a:defRPr sz="183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Agenda Slid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5460749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600700" y="1449892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451399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90"/>
              </a:spcBef>
              <a:defRPr sz="1348"/>
            </a:lvl1pPr>
            <a:lvl2pPr>
              <a:lnSpc>
                <a:spcPct val="100000"/>
              </a:lnSpc>
              <a:spcBef>
                <a:spcPts val="490"/>
              </a:spcBef>
              <a:defRPr sz="1348"/>
            </a:lvl2pPr>
            <a:lvl3pPr>
              <a:lnSpc>
                <a:spcPct val="100000"/>
              </a:lnSpc>
              <a:spcBef>
                <a:spcPts val="490"/>
              </a:spcBef>
              <a:defRPr sz="1348"/>
            </a:lvl3pPr>
            <a:lvl4pPr>
              <a:lnSpc>
                <a:spcPct val="100000"/>
              </a:lnSpc>
              <a:spcBef>
                <a:spcPts val="490"/>
              </a:spcBef>
              <a:defRPr sz="1348"/>
            </a:lvl4pPr>
            <a:lvl5pPr>
              <a:lnSpc>
                <a:spcPct val="100000"/>
              </a:lnSpc>
              <a:spcBef>
                <a:spcPts val="490"/>
              </a:spcBef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814915" y="1451399"/>
            <a:ext cx="4834444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90"/>
              </a:spcBef>
              <a:defRPr sz="1348"/>
            </a:lvl1pPr>
            <a:lvl2pPr>
              <a:lnSpc>
                <a:spcPct val="100000"/>
              </a:lnSpc>
              <a:spcBef>
                <a:spcPts val="490"/>
              </a:spcBef>
              <a:defRPr sz="1348"/>
            </a:lvl2pPr>
            <a:lvl3pPr>
              <a:lnSpc>
                <a:spcPct val="100000"/>
              </a:lnSpc>
              <a:spcBef>
                <a:spcPts val="490"/>
              </a:spcBef>
              <a:defRPr sz="1348"/>
            </a:lvl3pPr>
            <a:lvl4pPr>
              <a:lnSpc>
                <a:spcPct val="100000"/>
              </a:lnSpc>
              <a:spcBef>
                <a:spcPts val="490"/>
              </a:spcBef>
              <a:defRPr sz="1348"/>
            </a:lvl4pPr>
            <a:lvl5pPr>
              <a:lnSpc>
                <a:spcPct val="100000"/>
              </a:lnSpc>
              <a:spcBef>
                <a:spcPts val="490"/>
              </a:spcBef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2040" y="3556002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90"/>
              </a:spcBef>
              <a:defRPr sz="1348"/>
            </a:lvl1pPr>
            <a:lvl2pPr>
              <a:lnSpc>
                <a:spcPct val="100000"/>
              </a:lnSpc>
              <a:spcBef>
                <a:spcPts val="490"/>
              </a:spcBef>
              <a:defRPr sz="1348"/>
            </a:lvl2pPr>
            <a:lvl3pPr>
              <a:lnSpc>
                <a:spcPct val="100000"/>
              </a:lnSpc>
              <a:spcBef>
                <a:spcPts val="490"/>
              </a:spcBef>
              <a:defRPr sz="1348"/>
            </a:lvl3pPr>
            <a:lvl4pPr>
              <a:lnSpc>
                <a:spcPct val="100000"/>
              </a:lnSpc>
              <a:spcBef>
                <a:spcPts val="490"/>
              </a:spcBef>
              <a:defRPr sz="1348"/>
            </a:lvl4pPr>
            <a:lvl5pPr>
              <a:lnSpc>
                <a:spcPct val="100000"/>
              </a:lnSpc>
              <a:spcBef>
                <a:spcPts val="490"/>
              </a:spcBef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14915" y="3556002"/>
            <a:ext cx="4834444" cy="1681692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90"/>
              </a:spcBef>
              <a:defRPr sz="1348" kern="1200"/>
            </a:lvl1pPr>
            <a:lvl2pPr>
              <a:lnSpc>
                <a:spcPct val="100000"/>
              </a:lnSpc>
              <a:spcBef>
                <a:spcPts val="490"/>
              </a:spcBef>
              <a:defRPr sz="1348"/>
            </a:lvl2pPr>
            <a:lvl3pPr>
              <a:lnSpc>
                <a:spcPct val="100000"/>
              </a:lnSpc>
              <a:spcBef>
                <a:spcPts val="490"/>
              </a:spcBef>
              <a:defRPr sz="1348" kern="1200"/>
            </a:lvl3pPr>
            <a:lvl4pPr>
              <a:lnSpc>
                <a:spcPct val="100000"/>
              </a:lnSpc>
              <a:spcBef>
                <a:spcPts val="490"/>
              </a:spcBef>
              <a:defRPr sz="1348" kern="1200"/>
            </a:lvl4pPr>
            <a:lvl5pPr>
              <a:lnSpc>
                <a:spcPct val="100000"/>
              </a:lnSpc>
              <a:spcBef>
                <a:spcPts val="490"/>
              </a:spcBef>
              <a:defRPr sz="1348" kern="120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1641183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00700" y="1449892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348"/>
            </a:lvl1pPr>
            <a:lvl2pPr>
              <a:lnSpc>
                <a:spcPct val="100000"/>
              </a:lnSpc>
              <a:defRPr sz="1348"/>
            </a:lvl2pPr>
            <a:lvl3pPr>
              <a:lnSpc>
                <a:spcPct val="100000"/>
              </a:lnSpc>
              <a:defRPr sz="1348"/>
            </a:lvl3pPr>
            <a:lvl4pPr>
              <a:lnSpc>
                <a:spcPct val="100000"/>
              </a:lnSpc>
              <a:defRPr sz="1348"/>
            </a:lvl4pPr>
            <a:lvl5pPr>
              <a:lnSpc>
                <a:spcPct val="100000"/>
              </a:lnSpc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794446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348"/>
            </a:lvl1pPr>
            <a:lvl2pPr>
              <a:lnSpc>
                <a:spcPct val="100000"/>
              </a:lnSpc>
              <a:defRPr sz="1348"/>
            </a:lvl2pPr>
            <a:lvl3pPr>
              <a:lnSpc>
                <a:spcPct val="100000"/>
              </a:lnSpc>
              <a:defRPr sz="1348"/>
            </a:lvl3pPr>
            <a:lvl4pPr>
              <a:lnSpc>
                <a:spcPct val="100000"/>
              </a:lnSpc>
              <a:defRPr sz="1348"/>
            </a:lvl4pPr>
            <a:lvl5pPr>
              <a:lnSpc>
                <a:spcPct val="100000"/>
              </a:lnSpc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795744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52040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348"/>
            </a:lvl1pPr>
            <a:lvl2pPr>
              <a:lnSpc>
                <a:spcPct val="100000"/>
              </a:lnSpc>
              <a:defRPr sz="1348"/>
            </a:lvl2pPr>
            <a:lvl3pPr>
              <a:lnSpc>
                <a:spcPct val="100000"/>
              </a:lnSpc>
              <a:defRPr sz="1348"/>
            </a:lvl3pPr>
            <a:lvl4pPr>
              <a:lnSpc>
                <a:spcPct val="100000"/>
              </a:lnSpc>
              <a:defRPr sz="1348"/>
            </a:lvl4pPr>
            <a:lvl5pPr>
              <a:lnSpc>
                <a:spcPct val="100000"/>
              </a:lnSpc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553339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794446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348"/>
            </a:lvl1pPr>
            <a:lvl2pPr>
              <a:lnSpc>
                <a:spcPct val="100000"/>
              </a:lnSpc>
              <a:defRPr sz="1348"/>
            </a:lvl2pPr>
            <a:lvl3pPr>
              <a:lnSpc>
                <a:spcPct val="100000"/>
              </a:lnSpc>
              <a:defRPr sz="1348"/>
            </a:lvl3pPr>
            <a:lvl4pPr>
              <a:lnSpc>
                <a:spcPct val="100000"/>
              </a:lnSpc>
              <a:defRPr sz="1348"/>
            </a:lvl4pPr>
            <a:lvl5pPr>
              <a:lnSpc>
                <a:spcPct val="100000"/>
              </a:lnSpc>
              <a:defRPr sz="134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5795744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0206491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2815" y="1627240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83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530065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70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52815" y="2925042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83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4692142" y="2827867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70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552815" y="4222843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83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692142" y="4125668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70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3681602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0553" y="1440159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83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46624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70"/>
            </a:lvl1pPr>
            <a:lvl2pPr>
              <a:lnSpc>
                <a:spcPts val="2205"/>
              </a:lnSpc>
              <a:defRPr sz="1470"/>
            </a:lvl2pPr>
            <a:lvl3pPr>
              <a:lnSpc>
                <a:spcPts val="2205"/>
              </a:lnSpc>
              <a:defRPr sz="1470"/>
            </a:lvl3pPr>
            <a:lvl4pPr>
              <a:lnSpc>
                <a:spcPts val="2205"/>
              </a:lnSpc>
              <a:defRPr sz="1470"/>
            </a:lvl4pPr>
            <a:lvl5pPr>
              <a:lnSpc>
                <a:spcPts val="2205"/>
              </a:lnSpc>
              <a:defRPr sz="147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48476" y="4197342"/>
            <a:ext cx="10101953" cy="11780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56001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2205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Conclusion or summary based on the two boxes above may go here. The text in the box may be up to three lines in this space.</a:t>
            </a:r>
            <a:endParaRPr lang="en-GB" noProof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803292" y="1440159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83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799363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70"/>
            </a:lvl1pPr>
            <a:lvl2pPr>
              <a:lnSpc>
                <a:spcPts val="2205"/>
              </a:lnSpc>
              <a:defRPr sz="1470"/>
            </a:lvl2pPr>
            <a:lvl3pPr>
              <a:lnSpc>
                <a:spcPts val="2205"/>
              </a:lnSpc>
              <a:defRPr sz="1470"/>
            </a:lvl3pPr>
            <a:lvl4pPr>
              <a:lnSpc>
                <a:spcPts val="2205"/>
              </a:lnSpc>
              <a:defRPr sz="1470"/>
            </a:lvl4pPr>
            <a:lvl5pPr>
              <a:lnSpc>
                <a:spcPts val="2205"/>
              </a:lnSpc>
              <a:defRPr sz="147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8304393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8317538" y="2270271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68021">
              <a:lnSpc>
                <a:spcPct val="100000"/>
              </a:lnSpc>
              <a:buClr>
                <a:schemeClr val="accent4"/>
              </a:buClr>
              <a:defRPr sz="1103"/>
            </a:lvl1pPr>
            <a:lvl2pPr marL="330750" indent="-167580">
              <a:lnSpc>
                <a:spcPct val="100000"/>
              </a:lnSpc>
              <a:buClr>
                <a:schemeClr val="accent4"/>
              </a:buClr>
              <a:defRPr sz="1103"/>
            </a:lvl2pPr>
            <a:lvl3pPr marL="441000" indent="-167580" algn="l">
              <a:lnSpc>
                <a:spcPct val="100000"/>
              </a:lnSpc>
              <a:buClr>
                <a:schemeClr val="accent4"/>
              </a:buClr>
              <a:defRPr sz="1103"/>
            </a:lvl3pPr>
            <a:lvl4pPr marL="626220" indent="-167580">
              <a:lnSpc>
                <a:spcPct val="100000"/>
              </a:lnSpc>
              <a:buClr>
                <a:schemeClr val="accent4"/>
              </a:buClr>
              <a:defRPr sz="1103"/>
            </a:lvl4pPr>
            <a:lvl5pPr marL="802620" indent="-167580">
              <a:lnSpc>
                <a:spcPct val="100000"/>
              </a:lnSpc>
              <a:buClr>
                <a:schemeClr val="accent4"/>
              </a:buClr>
              <a:defRPr sz="1103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50981" y="1440159"/>
            <a:ext cx="2317148" cy="737426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34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</a:t>
            </a:r>
            <a:br>
              <a:rPr lang="en-GB" noProof="0" smtClean="0"/>
            </a:br>
            <a:r>
              <a:rPr lang="en-GB" noProof="0" smtClean="0"/>
              <a:t>edit title</a:t>
            </a:r>
            <a:endParaRPr lang="en-GB" noProof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623686" y="2270271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68021">
              <a:lnSpc>
                <a:spcPct val="100000"/>
              </a:lnSpc>
              <a:buClr>
                <a:schemeClr val="accent2"/>
              </a:buClr>
              <a:defRPr sz="1103"/>
            </a:lvl1pPr>
            <a:lvl2pPr marL="330750" indent="-167580">
              <a:lnSpc>
                <a:spcPct val="100000"/>
              </a:lnSpc>
              <a:buClr>
                <a:schemeClr val="accent2"/>
              </a:buClr>
              <a:defRPr sz="1103"/>
            </a:lvl2pPr>
            <a:lvl3pPr marL="441000" indent="-167580" algn="l">
              <a:lnSpc>
                <a:spcPct val="100000"/>
              </a:lnSpc>
              <a:buClr>
                <a:schemeClr val="accent2"/>
              </a:buClr>
              <a:defRPr sz="1103"/>
            </a:lvl3pPr>
            <a:lvl4pPr marL="626220" indent="-167580">
              <a:lnSpc>
                <a:spcPct val="100000"/>
              </a:lnSpc>
              <a:buClr>
                <a:schemeClr val="accent2"/>
              </a:buClr>
              <a:defRPr sz="1103"/>
            </a:lvl4pPr>
            <a:lvl5pPr marL="802620" indent="-167580">
              <a:lnSpc>
                <a:spcPct val="100000"/>
              </a:lnSpc>
              <a:buClr>
                <a:schemeClr val="accent2"/>
              </a:buClr>
              <a:defRPr sz="1103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 smtClean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3087153" y="2270271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68021">
              <a:lnSpc>
                <a:spcPct val="100000"/>
              </a:lnSpc>
              <a:buClr>
                <a:schemeClr val="accent5"/>
              </a:buClr>
              <a:defRPr sz="1103"/>
            </a:lvl1pPr>
            <a:lvl2pPr marL="330750" indent="-167580">
              <a:lnSpc>
                <a:spcPct val="100000"/>
              </a:lnSpc>
              <a:buClr>
                <a:schemeClr val="accent5"/>
              </a:buClr>
              <a:defRPr sz="1103"/>
            </a:lvl2pPr>
            <a:lvl3pPr marL="441000" indent="-167580" algn="l">
              <a:lnSpc>
                <a:spcPct val="100000"/>
              </a:lnSpc>
              <a:buClr>
                <a:schemeClr val="accent5"/>
              </a:buClr>
              <a:defRPr sz="1103"/>
            </a:lvl3pPr>
            <a:lvl4pPr marL="626220" indent="-167580">
              <a:lnSpc>
                <a:spcPct val="100000"/>
              </a:lnSpc>
              <a:buClr>
                <a:schemeClr val="accent5"/>
              </a:buClr>
              <a:defRPr sz="1103"/>
            </a:lvl4pPr>
            <a:lvl5pPr marL="802620" indent="-167580">
              <a:lnSpc>
                <a:spcPct val="100000"/>
              </a:lnSpc>
              <a:buClr>
                <a:schemeClr val="accent5"/>
              </a:buClr>
              <a:defRPr sz="1103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 smtClean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550620" y="2270271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68021">
              <a:lnSpc>
                <a:spcPct val="100000"/>
              </a:lnSpc>
              <a:buClr>
                <a:schemeClr val="accent3"/>
              </a:buClr>
              <a:defRPr sz="1103"/>
            </a:lvl1pPr>
            <a:lvl2pPr marL="330750" indent="-167580">
              <a:lnSpc>
                <a:spcPct val="100000"/>
              </a:lnSpc>
              <a:buClr>
                <a:schemeClr val="accent3"/>
              </a:buClr>
              <a:defRPr sz="1103"/>
            </a:lvl2pPr>
            <a:lvl3pPr marL="441000" indent="-167580" algn="l">
              <a:lnSpc>
                <a:spcPct val="100000"/>
              </a:lnSpc>
              <a:buClr>
                <a:schemeClr val="accent3"/>
              </a:buClr>
              <a:defRPr sz="1103"/>
            </a:lvl3pPr>
            <a:lvl4pPr marL="626220" indent="-167580">
              <a:lnSpc>
                <a:spcPct val="100000"/>
              </a:lnSpc>
              <a:buClr>
                <a:schemeClr val="accent3"/>
              </a:buClr>
              <a:defRPr sz="1103"/>
            </a:lvl4pPr>
            <a:lvl5pPr marL="802620" indent="-167580">
              <a:lnSpc>
                <a:spcPct val="100000"/>
              </a:lnSpc>
              <a:buClr>
                <a:schemeClr val="accent3"/>
              </a:buClr>
              <a:defRPr sz="1103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 smtClean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3091043" y="1440159"/>
            <a:ext cx="2317148" cy="737426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34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</a:t>
            </a:r>
            <a:br>
              <a:rPr lang="en-GB" noProof="0" smtClean="0"/>
            </a:br>
            <a:r>
              <a:rPr lang="en-GB" noProof="0" smtClean="0"/>
              <a:t>edit title</a:t>
            </a:r>
            <a:endParaRPr lang="en-GB" noProof="0"/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5620518" y="1440159"/>
            <a:ext cx="2317148" cy="737426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34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</a:t>
            </a:r>
            <a:br>
              <a:rPr lang="en-GB" noProof="0" smtClean="0"/>
            </a:br>
            <a:r>
              <a:rPr lang="en-GB" noProof="0" smtClean="0"/>
              <a:t>edit title</a:t>
            </a:r>
            <a:endParaRPr lang="en-GB" noProof="0"/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8328483" y="1440159"/>
            <a:ext cx="2317148" cy="737426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34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</a:t>
            </a:r>
            <a:br>
              <a:rPr lang="en-GB" noProof="0" smtClean="0"/>
            </a:br>
            <a:r>
              <a:rPr lang="en-GB" noProof="0" smtClean="0"/>
              <a:t>edit 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088964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ontact Information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1116" y="1392424"/>
            <a:ext cx="10102392" cy="382046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715" b="1" i="0"/>
            </a:lvl1pPr>
          </a:lstStyle>
          <a:p>
            <a:pPr lvl="0"/>
            <a:r>
              <a:rPr lang="en-GB" noProof="0" smtClean="0"/>
              <a:t>Name</a:t>
            </a:r>
            <a:endParaRPr lang="en-GB" noProof="0"/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541116" y="1756589"/>
            <a:ext cx="10093892" cy="43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90956" indent="0">
              <a:buNone/>
              <a:defRPr sz="1470"/>
            </a:lvl1pPr>
            <a:lvl2pPr marL="333506" indent="0">
              <a:buNone/>
              <a:defRPr/>
            </a:lvl2pPr>
            <a:lvl3pPr marL="659846" indent="0">
              <a:buNone/>
              <a:defRPr/>
            </a:lvl3pPr>
            <a:lvl4pPr marL="1007712" indent="0">
              <a:buNone/>
              <a:defRPr/>
            </a:lvl4pPr>
            <a:lvl5pPr marL="1272312" indent="0">
              <a:buNone/>
              <a:defRPr/>
            </a:lvl5pPr>
          </a:lstStyle>
          <a:p>
            <a:r>
              <a:rPr lang="en-GB" noProof="0" smtClean="0"/>
              <a:t>Title</a:t>
            </a:r>
            <a:endParaRPr lang="en-GB" noProof="0"/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990286" y="3571226"/>
            <a:ext cx="9652554" cy="319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90956" indent="0">
              <a:buNone/>
              <a:defRPr sz="1470"/>
            </a:lvl1pPr>
            <a:lvl2pPr marL="333506" indent="0">
              <a:buNone/>
              <a:defRPr/>
            </a:lvl2pPr>
            <a:lvl3pPr marL="659846" indent="0">
              <a:buNone/>
              <a:defRPr/>
            </a:lvl3pPr>
            <a:lvl4pPr marL="1007712" indent="0">
              <a:buNone/>
              <a:defRPr/>
            </a:lvl4pPr>
            <a:lvl5pPr marL="1272312" indent="0">
              <a:buNone/>
              <a:defRPr/>
            </a:lvl5pPr>
          </a:lstStyle>
          <a:p>
            <a:pPr lvl="0"/>
            <a:r>
              <a:rPr lang="en-GB" noProof="0" smtClean="0"/>
              <a:t>+00 (0)00 0000 0000</a:t>
            </a:r>
            <a:endParaRPr lang="en-GB" noProof="0"/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541116" y="4973578"/>
            <a:ext cx="10093892" cy="35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90956" indent="0">
              <a:buNone/>
              <a:defRPr sz="1470" b="1" i="0">
                <a:solidFill>
                  <a:schemeClr val="accent1"/>
                </a:solidFill>
              </a:defRPr>
            </a:lvl1pPr>
            <a:lvl2pPr marL="333506" indent="0">
              <a:buNone/>
              <a:defRPr/>
            </a:lvl2pPr>
            <a:lvl3pPr marL="659846" indent="0">
              <a:buNone/>
              <a:defRPr/>
            </a:lvl3pPr>
            <a:lvl4pPr marL="1007712" indent="0">
              <a:buNone/>
              <a:defRPr/>
            </a:lvl4pPr>
            <a:lvl5pPr marL="1272312" indent="0">
              <a:buNone/>
              <a:defRPr/>
            </a:lvl5pPr>
          </a:lstStyle>
          <a:p>
            <a:pPr lvl="0"/>
            <a:r>
              <a:rPr lang="en-GB" noProof="0" smtClean="0"/>
              <a:t>www.gs1.org</a:t>
            </a:r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990286" y="4497336"/>
            <a:ext cx="9652554" cy="309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90956" indent="0">
              <a:buNone/>
              <a:defRPr sz="1470"/>
            </a:lvl1pPr>
            <a:lvl2pPr marL="333506" indent="0">
              <a:buNone/>
              <a:defRPr/>
            </a:lvl2pPr>
            <a:lvl3pPr marL="659846" indent="0">
              <a:buNone/>
              <a:defRPr/>
            </a:lvl3pPr>
            <a:lvl4pPr marL="1007712" indent="0">
              <a:buNone/>
              <a:defRPr/>
            </a:lvl4pPr>
            <a:lvl5pPr marL="1272312" indent="0">
              <a:buNone/>
              <a:defRPr/>
            </a:lvl5pPr>
          </a:lstStyle>
          <a:p>
            <a:pPr lvl="0"/>
            <a:r>
              <a:rPr lang="en-GB" noProof="0" smtClean="0"/>
              <a:t>name@gs1.org</a:t>
            </a:r>
            <a:endParaRPr lang="en-GB" noProof="0"/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541116" y="2181982"/>
            <a:ext cx="10093892" cy="127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90956" indent="0">
              <a:buNone/>
              <a:defRPr sz="1470" b="0" baseline="0"/>
            </a:lvl1pPr>
            <a:lvl2pPr marL="333506" indent="0">
              <a:buNone/>
              <a:defRPr/>
            </a:lvl2pPr>
            <a:lvl3pPr marL="659846" indent="0">
              <a:buNone/>
              <a:defRPr/>
            </a:lvl3pPr>
            <a:lvl4pPr marL="1007712" indent="0">
              <a:buNone/>
              <a:defRPr/>
            </a:lvl4pPr>
            <a:lvl5pPr marL="1272312" indent="0">
              <a:buNone/>
              <a:defRPr/>
            </a:lvl5pPr>
          </a:lstStyle>
          <a:p>
            <a:pPr lvl="0"/>
            <a:r>
              <a:rPr lang="en-GB" noProof="0" smtClean="0"/>
              <a:t>GS1 Address</a:t>
            </a:r>
            <a:endParaRPr lang="en-GB" noProof="0"/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990286" y="3879683"/>
            <a:ext cx="9652554" cy="319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90956" indent="0">
              <a:buNone/>
              <a:defRPr sz="1470"/>
            </a:lvl1pPr>
            <a:lvl2pPr marL="333506" indent="0">
              <a:buNone/>
              <a:defRPr/>
            </a:lvl2pPr>
            <a:lvl3pPr marL="659846" indent="0">
              <a:buNone/>
              <a:defRPr/>
            </a:lvl3pPr>
            <a:lvl4pPr marL="1007712" indent="0">
              <a:buNone/>
              <a:defRPr/>
            </a:lvl4pPr>
            <a:lvl5pPr marL="1272312" indent="0">
              <a:buNone/>
              <a:defRPr/>
            </a:lvl5pPr>
          </a:lstStyle>
          <a:p>
            <a:pPr lvl="0"/>
            <a:r>
              <a:rPr lang="en-GB" noProof="0" smtClean="0"/>
              <a:t>+00 (0)00 0000 0000</a:t>
            </a:r>
            <a:endParaRPr lang="en-GB" noProof="0"/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990286" y="4188139"/>
            <a:ext cx="9652554" cy="319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90956" indent="0">
              <a:buNone/>
              <a:defRPr sz="1470"/>
            </a:lvl1pPr>
            <a:lvl2pPr marL="333506" indent="0">
              <a:buNone/>
              <a:defRPr/>
            </a:lvl2pPr>
            <a:lvl3pPr marL="659846" indent="0">
              <a:buNone/>
              <a:defRPr/>
            </a:lvl3pPr>
            <a:lvl4pPr marL="1007712" indent="0">
              <a:buNone/>
              <a:defRPr/>
            </a:lvl4pPr>
            <a:lvl5pPr marL="1272312" indent="0">
              <a:buNone/>
              <a:defRPr/>
            </a:lvl5pPr>
          </a:lstStyle>
          <a:p>
            <a:pPr lvl="0"/>
            <a:r>
              <a:rPr lang="en-GB" noProof="0" smtClean="0"/>
              <a:t>+00 (0)00 0000 0000</a:t>
            </a:r>
            <a:endParaRPr lang="en-GB" noProof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544079" y="357307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90956" indent="0" algn="l">
              <a:buNone/>
              <a:defRPr sz="1470" b="1" i="0"/>
            </a:lvl1pPr>
          </a:lstStyle>
          <a:p>
            <a:pPr lvl="0"/>
            <a:r>
              <a:rPr lang="en-GB" noProof="0" smtClean="0"/>
              <a:t>T</a:t>
            </a:r>
            <a:endParaRPr lang="en-GB" noProof="0"/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544079" y="387839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90956" indent="0" algn="l">
              <a:buNone/>
              <a:defRPr sz="1470" b="1" i="0"/>
            </a:lvl1pPr>
          </a:lstStyle>
          <a:p>
            <a:pPr lvl="0"/>
            <a:r>
              <a:rPr lang="en-GB" noProof="0" smtClean="0"/>
              <a:t>D</a:t>
            </a:r>
            <a:endParaRPr lang="en-GB" noProof="0"/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544079" y="418760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90956" indent="0" algn="l">
              <a:buNone/>
              <a:defRPr sz="1470" b="1" i="0"/>
            </a:lvl1pPr>
          </a:lstStyle>
          <a:p>
            <a:pPr lvl="0"/>
            <a:r>
              <a:rPr lang="en-GB" noProof="0" smtClean="0"/>
              <a:t>M</a:t>
            </a:r>
            <a:endParaRPr lang="en-GB" noProof="0"/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544079" y="4497134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90956" indent="0" algn="l">
              <a:buNone/>
              <a:defRPr sz="1470" b="1" i="0"/>
            </a:lvl1pPr>
          </a:lstStyle>
          <a:p>
            <a:pPr lvl="0"/>
            <a:r>
              <a:rPr lang="en-GB" noProof="0" smtClean="0"/>
              <a:t>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7123219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porate Visual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985155" y="4197026"/>
            <a:ext cx="6793906" cy="45081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Click to Add Presenter Name, Title, Company</a:t>
            </a:r>
          </a:p>
        </p:txBody>
      </p:sp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985155" y="2649625"/>
            <a:ext cx="6796197" cy="74157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ts val="2756"/>
              </a:lnSpc>
              <a:defRPr sz="2205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Title of Presentation</a:t>
            </a:r>
            <a:br>
              <a:rPr lang="en-US" dirty="0" smtClean="0"/>
            </a:br>
            <a:r>
              <a:rPr lang="en-US" dirty="0" smtClean="0"/>
              <a:t>Second Line Title</a:t>
            </a:r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7642553" y="5844866"/>
            <a:ext cx="2099437" cy="15858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54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985157" y="3476938"/>
            <a:ext cx="6796659" cy="42630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86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71922" y="4077860"/>
            <a:ext cx="6760441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985155" y="4677966"/>
            <a:ext cx="6793906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651561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2" y="2994087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US" dirty="0" smtClean="0"/>
              <a:t>Add text here</a:t>
            </a:r>
          </a:p>
          <a:p>
            <a:pPr lvl="0"/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2" y="428224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US" dirty="0" smtClean="0"/>
              <a:t>Add text here</a:t>
            </a:r>
          </a:p>
          <a:p>
            <a:pPr lvl="0"/>
            <a:endParaRPr lang="en-US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604937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US" dirty="0" smtClean="0"/>
              <a:t>Add text her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3501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548457" y="1336976"/>
            <a:ext cx="10096091" cy="4057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378"/>
            </a:lvl1pPr>
            <a:lvl2pPr>
              <a:defRPr sz="1378"/>
            </a:lvl2pPr>
            <a:lvl3pPr>
              <a:defRPr sz="1378"/>
            </a:lvl3pPr>
            <a:lvl4pPr>
              <a:defRPr sz="1378"/>
            </a:lvl4pPr>
            <a:lvl5pPr>
              <a:defRPr sz="137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9122469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ustry Colour Blo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542479" y="2517399"/>
            <a:ext cx="10114409" cy="2520315"/>
          </a:xfrm>
          <a:prstGeom prst="rect">
            <a:avLst/>
          </a:prstGeom>
          <a:solidFill>
            <a:srgbClr val="00B6D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1120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205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708799" y="2630949"/>
            <a:ext cx="9779522" cy="66808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2205" b="0" i="0" cap="none" spc="11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Title of Presentation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08808" y="3417253"/>
            <a:ext cx="9779511" cy="51655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70" b="0" i="0" cap="none" spc="11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04396" y="4044322"/>
            <a:ext cx="9772391" cy="474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22342" y="4175193"/>
            <a:ext cx="9762821" cy="47914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1103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Presenter Name, Title, Company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22319" y="4696356"/>
            <a:ext cx="9762851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78950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290061"/>
            <a:ext cx="9854563" cy="3222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7177"/>
            <a:ext cx="9854563" cy="91821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20011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20011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 smtClean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27869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ur Block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985155" y="4197026"/>
            <a:ext cx="9252697" cy="45081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Click to Add Presenter Name, Title, Company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985155" y="2649625"/>
            <a:ext cx="9255817" cy="74157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ts val="2756"/>
              </a:lnSpc>
              <a:defRPr sz="2205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Title of Presentation</a:t>
            </a:r>
            <a:br>
              <a:rPr lang="en-US" dirty="0" smtClean="0"/>
            </a:br>
            <a:r>
              <a:rPr lang="en-US" dirty="0" smtClean="0"/>
              <a:t>Second Line Title</a:t>
            </a:r>
            <a:endParaRPr lang="en-US" dirty="0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985155" y="3476938"/>
            <a:ext cx="9256445" cy="42630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86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71920" y="4077860"/>
            <a:ext cx="9258486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985155" y="4677966"/>
            <a:ext cx="9252697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408716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7625"/>
            <a:ext cx="9858870" cy="3732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/>
            </a:lvl1pPr>
          </a:lstStyle>
          <a:p>
            <a:pPr lvl="0"/>
            <a:r>
              <a:rPr lang="en-US"/>
              <a:t>Click to edit heading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677136" y="1750220"/>
            <a:ext cx="9854563" cy="3762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80882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2"/>
            <a:ext cx="9854563" cy="3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5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 smtClean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37778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7627"/>
            <a:ext cx="9858870" cy="3732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/>
            </a:lvl1pPr>
          </a:lstStyle>
          <a:p>
            <a:pPr lvl="0"/>
            <a:r>
              <a:rPr lang="en-US"/>
              <a:t>Click to edit heading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677136" y="1750220"/>
            <a:ext cx="9854563" cy="3762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59256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 smtClean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94573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1201400" cy="5563083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11201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205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60070" y="644360"/>
            <a:ext cx="10091330" cy="1945964"/>
          </a:xfrm>
          <a:prstGeom prst="rect">
            <a:avLst/>
          </a:prstGeom>
        </p:spPr>
        <p:txBody>
          <a:bodyPr lIns="0" tIns="0" rIns="0" bIns="0"/>
          <a:lstStyle>
            <a:lvl1pPr marL="90955" indent="0">
              <a:lnSpc>
                <a:spcPct val="100000"/>
              </a:lnSpc>
              <a:buNone/>
              <a:defRPr sz="4900" b="1">
                <a:solidFill>
                  <a:schemeClr val="bg1"/>
                </a:solidFill>
              </a:defRPr>
            </a:lvl1pPr>
            <a:lvl2pPr marL="333498" indent="0">
              <a:buNone/>
              <a:defRPr>
                <a:solidFill>
                  <a:schemeClr val="bg1"/>
                </a:solidFill>
              </a:defRPr>
            </a:lvl2pPr>
            <a:lvl3pPr marL="659830" indent="0">
              <a:buNone/>
              <a:defRPr>
                <a:solidFill>
                  <a:schemeClr val="bg1"/>
                </a:solidFill>
              </a:defRPr>
            </a:lvl3pPr>
            <a:lvl4pPr marL="1007687" indent="0">
              <a:buNone/>
              <a:defRPr>
                <a:solidFill>
                  <a:schemeClr val="bg1"/>
                </a:solidFill>
              </a:defRPr>
            </a:lvl4pPr>
            <a:lvl5pPr marL="127228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422085704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7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680404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</p:spTree>
    <p:extLst>
      <p:ext uri="{BB962C8B-B14F-4D97-AF65-F5344CB8AC3E}">
        <p14:creationId xmlns:p14="http://schemas.microsoft.com/office/powerpoint/2010/main" val="1318117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Block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708799" y="2630950"/>
            <a:ext cx="9779522" cy="66808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1653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 smtClean="0"/>
              <a:t>Title of Presentation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08808" y="3417253"/>
            <a:ext cx="9779511" cy="51655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02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04396" y="4044323"/>
            <a:ext cx="9772391" cy="4743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22342" y="4175194"/>
            <a:ext cx="9762821" cy="47914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827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smtClean="0"/>
              <a:t>Click to Add Presenter Name, Title, Company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22319" y="4696356"/>
            <a:ext cx="9762851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827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217860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7" y="1337626"/>
            <a:ext cx="10101953" cy="457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7" y="1904948"/>
            <a:ext cx="10096091" cy="348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378"/>
            </a:lvl1pPr>
            <a:lvl2pPr>
              <a:defRPr sz="1378"/>
            </a:lvl2pPr>
            <a:lvl3pPr>
              <a:defRPr sz="1378"/>
            </a:lvl3pPr>
            <a:lvl4pPr>
              <a:defRPr sz="1378"/>
            </a:lvl4pPr>
            <a:lvl5pPr>
              <a:defRPr sz="137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3071126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8549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32606" y="143624"/>
            <a:ext cx="10136190" cy="471224"/>
          </a:xfrm>
        </p:spPr>
        <p:txBody>
          <a:bodyPr lIns="0" tIns="0" rIns="0" bIns="0"/>
          <a:lstStyle>
            <a:lvl1pPr>
              <a:defRPr sz="3063" b="0" i="0">
                <a:solidFill>
                  <a:srgbClr val="002C6C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36098" y="1819368"/>
            <a:ext cx="9461294" cy="226216"/>
          </a:xfrm>
        </p:spPr>
        <p:txBody>
          <a:bodyPr lIns="0" tIns="0" rIns="0" bIns="0"/>
          <a:lstStyle>
            <a:lvl1pPr>
              <a:defRPr sz="1470" b="0" i="0" u="sng">
                <a:solidFill>
                  <a:srgbClr val="008DBC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35" b="0" i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marL="15558" defTabSz="840105">
              <a:spcBef>
                <a:spcPts val="123"/>
              </a:spcBef>
              <a:defRPr/>
            </a:pPr>
            <a:r>
              <a:rPr lang="en-US" smtClean="0"/>
              <a:t>©</a:t>
            </a:r>
            <a:r>
              <a:rPr lang="en-US" spc="-43" smtClean="0"/>
              <a:t> </a:t>
            </a:r>
            <a:r>
              <a:rPr lang="en-US" spc="-6" smtClean="0"/>
              <a:t>GS1</a:t>
            </a:r>
            <a:r>
              <a:rPr lang="en-US" spc="-37" smtClean="0"/>
              <a:t> </a:t>
            </a:r>
            <a:r>
              <a:rPr lang="en-US" smtClean="0"/>
              <a:t>2024</a:t>
            </a:r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40105">
              <a:defRPr/>
            </a:pPr>
            <a:fld id="{1D8BD707-D9CF-40AE-B4C6-C98DA3205C09}" type="datetimeFigureOut">
              <a:rPr lang="en-US" sz="1654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840105">
                <a:defRPr/>
              </a:pPr>
              <a:t>8/7/2024</a:t>
            </a:fld>
            <a:endParaRPr lang="en-US" sz="1654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35" b="0" i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marL="46671" algn="l" defTabSz="840105">
              <a:spcBef>
                <a:spcPts val="123"/>
              </a:spcBef>
              <a:defRPr/>
            </a:pPr>
            <a:fld id="{81D60167-4931-47E6-BA6A-407CBD079E47}" type="slidenum">
              <a:rPr lang="en-US" altLang="zh-CN" sz="857" spc="-6" smtClean="0"/>
              <a:pPr marL="46671" algn="l" defTabSz="840105">
                <a:spcBef>
                  <a:spcPts val="123"/>
                </a:spcBef>
                <a:defRPr/>
              </a:pPr>
              <a:t>‹#›</a:t>
            </a:fld>
            <a:endParaRPr lang="zh-CN" altLang="en-US" sz="857"/>
          </a:p>
        </p:txBody>
      </p:sp>
    </p:spTree>
    <p:extLst>
      <p:ext uri="{BB962C8B-B14F-4D97-AF65-F5344CB8AC3E}">
        <p14:creationId xmlns:p14="http://schemas.microsoft.com/office/powerpoint/2010/main" val="76501886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0890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07785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61356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46012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5322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41031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75095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619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7" y="1337628"/>
            <a:ext cx="10101953" cy="796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Main idea, quote, or phrase two lines and under may go in this text box. </a:t>
            </a:r>
            <a:endParaRPr lang="en-GB" noProof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7" y="2246060"/>
            <a:ext cx="10096091" cy="3148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378"/>
            </a:lvl1pPr>
            <a:lvl2pPr>
              <a:defRPr sz="1378"/>
            </a:lvl2pPr>
            <a:lvl3pPr>
              <a:defRPr sz="1378"/>
            </a:lvl3pPr>
            <a:lvl4pPr>
              <a:defRPr sz="1378"/>
            </a:lvl4pPr>
            <a:lvl5pPr>
              <a:defRPr sz="137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557396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5303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89373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60689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0967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51659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53120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5695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73580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1735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9072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7" y="1337627"/>
            <a:ext cx="10101953" cy="106681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1994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653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1994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noProof="0" smtClean="0"/>
              <a:t>Click to edit text. Main idea, quote, or phrase three lines and under may go in this text box. For text over three lines adjust the size of this box.</a:t>
            </a:r>
            <a:endParaRPr lang="en-GB" noProof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7" y="2520318"/>
            <a:ext cx="10096091" cy="2873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378"/>
            </a:lvl1pPr>
            <a:lvl2pPr>
              <a:defRPr sz="1378"/>
            </a:lvl2pPr>
            <a:lvl3pPr>
              <a:defRPr sz="1378"/>
            </a:lvl3pPr>
            <a:lvl4pPr>
              <a:defRPr sz="1378"/>
            </a:lvl4pPr>
            <a:lvl5pPr>
              <a:defRPr sz="137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1616561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40105" fontAlgn="base">
              <a:spcAft>
                <a:spcPct val="0"/>
              </a:spcAft>
              <a:defRPr/>
            </a:pPr>
            <a:fld id="{4472AB7F-E8D0-4874-A9B8-335B68DC5F05}" type="slidenum">
              <a:rPr lang="en-US" sz="735" smtClean="0"/>
              <a:pPr defTabSz="840105" fontAlgn="base">
                <a:spcAft>
                  <a:spcPct val="0"/>
                </a:spcAft>
                <a:defRPr/>
              </a:pPr>
              <a:t>‹#›</a:t>
            </a:fld>
            <a:endParaRPr lang="en-US" sz="735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58040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3" y="299408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US" dirty="0"/>
              <a:t>Add text here</a:t>
            </a:r>
          </a:p>
          <a:p>
            <a:pPr lvl="0"/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3" y="4282249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US" dirty="0"/>
              <a:t>Add text here</a:t>
            </a:r>
          </a:p>
          <a:p>
            <a:pPr lvl="0"/>
            <a:endParaRPr lang="en-US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3" y="160493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US" dirty="0"/>
              <a:t>Add text her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29873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3" y="299408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US" dirty="0"/>
              <a:t>Add text here</a:t>
            </a:r>
          </a:p>
          <a:p>
            <a:pPr lvl="0"/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3" y="4282249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US" dirty="0"/>
              <a:t>Add text here</a:t>
            </a:r>
          </a:p>
          <a:p>
            <a:pPr lvl="0"/>
            <a:endParaRPr lang="en-US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3" y="160493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US" dirty="0"/>
              <a:t>Add text her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95756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67028" y="1440159"/>
            <a:ext cx="4688266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63101" y="2270268"/>
            <a:ext cx="4702777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78"/>
            </a:lvl1pPr>
            <a:lvl2pPr>
              <a:lnSpc>
                <a:spcPts val="1654"/>
              </a:lnSpc>
              <a:defRPr sz="1378"/>
            </a:lvl2pPr>
            <a:lvl3pPr>
              <a:lnSpc>
                <a:spcPts val="1654"/>
              </a:lnSpc>
              <a:defRPr sz="1378"/>
            </a:lvl3pPr>
            <a:lvl4pPr>
              <a:lnSpc>
                <a:spcPts val="1654"/>
              </a:lnSpc>
              <a:defRPr sz="1378"/>
            </a:lvl4pPr>
            <a:lvl5pPr>
              <a:lnSpc>
                <a:spcPts val="1654"/>
              </a:lnSpc>
              <a:defRPr sz="1378"/>
            </a:lvl5pPr>
          </a:lstStyle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66767" y="4155717"/>
            <a:ext cx="9874482" cy="13373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Conclusion or summary based on the two boxes above may go here. The text in the box may be up to four lines in this spa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5842401" y="1440159"/>
            <a:ext cx="4688266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5838473" y="2270268"/>
            <a:ext cx="4702777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78"/>
            </a:lvl1pPr>
            <a:lvl2pPr>
              <a:lnSpc>
                <a:spcPts val="1654"/>
              </a:lnSpc>
              <a:defRPr sz="1378"/>
            </a:lvl2pPr>
            <a:lvl3pPr>
              <a:lnSpc>
                <a:spcPts val="1654"/>
              </a:lnSpc>
              <a:defRPr sz="1378"/>
            </a:lvl3pPr>
            <a:lvl4pPr>
              <a:lnSpc>
                <a:spcPts val="1654"/>
              </a:lnSpc>
              <a:defRPr sz="1378"/>
            </a:lvl4pPr>
            <a:lvl5pPr>
              <a:lnSpc>
                <a:spcPts val="1654"/>
              </a:lnSpc>
              <a:defRPr sz="1378"/>
            </a:lvl5pPr>
          </a:lstStyle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334607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range Divider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47" y="1460"/>
          <a:ext cx="1944" cy="14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47" y="1460"/>
                        <a:ext cx="1944" cy="14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090732" y="1611075"/>
            <a:ext cx="9044688" cy="7834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27" b="0" i="0" cap="none" spc="83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1090730" y="638251"/>
            <a:ext cx="9019153" cy="8187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32"/>
              </a:lnSpc>
              <a:defRPr sz="2573" b="0" i="0" cap="none" spc="47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 dirty="0"/>
              <a:t>Divider Slide</a:t>
            </a:r>
            <a:br>
              <a:rPr lang="en-GB" noProof="0" dirty="0"/>
            </a:br>
            <a:r>
              <a:rPr lang="en-GB" noProof="0" dirty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027098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orporate Visual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Picture 2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30747" y="803343"/>
            <a:ext cx="1154080" cy="7333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Picture 8" descr="Picture 8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906669" y="1183269"/>
            <a:ext cx="1751027" cy="94952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itle of PresentationSecond Line Title"/>
          <p:cNvSpPr txBox="1">
            <a:spLocks noGrp="1"/>
          </p:cNvSpPr>
          <p:nvPr>
            <p:ph type="title" hasCustomPrompt="1"/>
          </p:nvPr>
        </p:nvSpPr>
        <p:spPr>
          <a:xfrm>
            <a:off x="708799" y="2630949"/>
            <a:ext cx="7930605" cy="668082"/>
          </a:xfrm>
          <a:prstGeom prst="rect">
            <a:avLst/>
          </a:prstGeom>
        </p:spPr>
        <p:txBody>
          <a:bodyPr anchor="t"/>
          <a:lstStyle>
            <a:lvl1pPr defTabSz="560055">
              <a:defRPr sz="2205" spc="110">
                <a:solidFill>
                  <a:srgbClr val="FFFFFF"/>
                </a:solidFill>
              </a:defRPr>
            </a:lvl1pPr>
          </a:lstStyle>
          <a:p>
            <a:r>
              <a:t>Title of PresentationSecond Line Title</a:t>
            </a:r>
          </a:p>
        </p:txBody>
      </p:sp>
      <p:sp>
        <p:nvSpPr>
          <p:cNvPr id="16" name="正文级别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08809" y="3417253"/>
            <a:ext cx="7930595" cy="51655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276"/>
              </a:spcBef>
              <a:buSzTx/>
              <a:buFontTx/>
              <a:buNone/>
              <a:defRPr sz="1470" spc="110">
                <a:solidFill>
                  <a:srgbClr val="FFFFFF"/>
                </a:solidFill>
              </a:defRPr>
            </a:lvl1pPr>
            <a:lvl2pPr marL="711422" indent="-151366">
              <a:spcBef>
                <a:spcPts val="276"/>
              </a:spcBef>
              <a:buFontTx/>
              <a:defRPr sz="1470" spc="110">
                <a:solidFill>
                  <a:srgbClr val="FFFFFF"/>
                </a:solidFill>
              </a:defRPr>
            </a:lvl2pPr>
            <a:lvl3pPr marL="1260126" indent="-140014">
              <a:spcBef>
                <a:spcPts val="276"/>
              </a:spcBef>
              <a:buFontTx/>
              <a:defRPr sz="1470" spc="110">
                <a:solidFill>
                  <a:srgbClr val="FFFFFF"/>
                </a:solidFill>
              </a:defRPr>
            </a:lvl3pPr>
            <a:lvl4pPr marL="1852493" indent="-172324">
              <a:spcBef>
                <a:spcPts val="276"/>
              </a:spcBef>
              <a:buFontTx/>
              <a:defRPr sz="1470" spc="110">
                <a:solidFill>
                  <a:srgbClr val="FFFFFF"/>
                </a:solidFill>
              </a:defRPr>
            </a:lvl4pPr>
            <a:lvl5pPr marL="2412548" indent="-172324">
              <a:spcBef>
                <a:spcPts val="276"/>
              </a:spcBef>
              <a:buFontTx/>
              <a:defRPr sz="1470" spc="110">
                <a:solidFill>
                  <a:srgbClr val="FFFFFF"/>
                </a:solidFill>
              </a:defRPr>
            </a:lvl5pPr>
          </a:lstStyle>
          <a:p>
            <a:r>
              <a:t>Click to Add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7" name="Straight Connector 10"/>
          <p:cNvSpPr/>
          <p:nvPr/>
        </p:nvSpPr>
        <p:spPr>
          <a:xfrm>
            <a:off x="704397" y="4044323"/>
            <a:ext cx="7924821" cy="3163"/>
          </a:xfrm>
          <a:prstGeom prst="line">
            <a:avLst/>
          </a:prstGeom>
          <a:ln w="12700">
            <a:solidFill>
              <a:srgbClr val="FFFFFF"/>
            </a:solidFill>
          </a:ln>
        </p:spPr>
        <p:txBody>
          <a:bodyPr lIns="42004" rIns="42004"/>
          <a:lstStyle/>
          <a:p>
            <a:endParaRPr sz="1654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722341" y="4175191"/>
            <a:ext cx="7917062" cy="47914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20000"/>
              </a:lnSpc>
              <a:spcBef>
                <a:spcPts val="184"/>
              </a:spcBef>
              <a:buSzTx/>
              <a:buFontTx/>
              <a:buNone/>
              <a:defRPr sz="1103">
                <a:solidFill>
                  <a:srgbClr val="FFFFFF"/>
                </a:solidFill>
              </a:defRPr>
            </a:lvl1pPr>
          </a:lstStyle>
          <a:p>
            <a:r>
              <a:t>Click to Add Presenter Name, Title, Company</a:t>
            </a:r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722321" y="4696356"/>
            <a:ext cx="7917083" cy="18839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184"/>
              </a:spcBef>
              <a:buSzTx/>
              <a:buFontTx/>
              <a:buNone/>
              <a:defRPr sz="1103">
                <a:solidFill>
                  <a:srgbClr val="FFFFFF"/>
                </a:solidFill>
              </a:defRPr>
            </a:lvl1pPr>
          </a:lstStyle>
          <a:p>
            <a:r>
              <a:t>Click to Add Date</a:t>
            </a:r>
          </a:p>
        </p:txBody>
      </p:sp>
      <p:sp>
        <p:nvSpPr>
          <p:cNvPr id="20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414010" y="5670709"/>
            <a:ext cx="2613660" cy="338377"/>
          </a:xfrm>
          <a:prstGeom prst="rect">
            <a:avLst/>
          </a:prstGeom>
        </p:spPr>
        <p:txBody>
          <a:bodyPr lIns="45719" tIns="45719" rIns="45719" bIns="45719"/>
          <a:lstStyle>
            <a:lvl1pPr>
              <a:defRPr sz="1103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9580766"/>
      </p:ext>
    </p:extLst>
  </p:cSld>
  <p:clrMapOvr>
    <a:masterClrMapping/>
  </p:clrMapOvr>
  <p:transition spd="med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ext Onl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Text Placeholder 19"/>
          <p:cNvSpPr txBox="1"/>
          <p:nvPr/>
        </p:nvSpPr>
        <p:spPr>
          <a:xfrm>
            <a:off x="6230779" y="5870182"/>
            <a:ext cx="3393686" cy="1131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algn="r" defTabSz="457154">
              <a:spcBef>
                <a:spcPts val="100"/>
              </a:spcBef>
              <a:defRPr sz="800"/>
            </a:lvl1pPr>
          </a:lstStyle>
          <a:p>
            <a:r>
              <a:rPr sz="735"/>
              <a:t>© GS1 2023</a:t>
            </a:r>
          </a:p>
        </p:txBody>
      </p:sp>
      <p:sp>
        <p:nvSpPr>
          <p:cNvPr id="749" name="Click to Edit Title"/>
          <p:cNvSpPr txBox="1">
            <a:spLocks noGrp="1"/>
          </p:cNvSpPr>
          <p:nvPr>
            <p:ph type="title" hasCustomPrompt="1"/>
          </p:nvPr>
        </p:nvSpPr>
        <p:spPr>
          <a:xfrm>
            <a:off x="548163" y="211487"/>
            <a:ext cx="10098829" cy="832570"/>
          </a:xfrm>
          <a:prstGeom prst="rect">
            <a:avLst/>
          </a:prstGeom>
        </p:spPr>
        <p:txBody>
          <a:bodyPr/>
          <a:lstStyle>
            <a:lvl1pPr defTabSz="560001">
              <a:lnSpc>
                <a:spcPct val="90000"/>
              </a:lnSpc>
              <a:defRPr sz="3032"/>
            </a:lvl1pPr>
          </a:lstStyle>
          <a:p>
            <a:r>
              <a:t>Click to Edit Title</a:t>
            </a:r>
          </a:p>
        </p:txBody>
      </p:sp>
      <p:sp>
        <p:nvSpPr>
          <p:cNvPr id="750" name="正文级别 1…"/>
          <p:cNvSpPr txBox="1">
            <a:spLocks noGrp="1"/>
          </p:cNvSpPr>
          <p:nvPr>
            <p:ph type="body" idx="1" hasCustomPrompt="1"/>
          </p:nvPr>
        </p:nvSpPr>
        <p:spPr>
          <a:xfrm>
            <a:off x="548457" y="1336977"/>
            <a:ext cx="10096094" cy="4057306"/>
          </a:xfrm>
          <a:prstGeom prst="rect">
            <a:avLst/>
          </a:prstGeom>
        </p:spPr>
        <p:txBody>
          <a:bodyPr lIns="45715" tIns="45715" rIns="45715" bIns="45715">
            <a:normAutofit/>
          </a:bodyPr>
          <a:lstStyle>
            <a:lvl1pPr marL="440989" indent="-350035" defTabSz="560001">
              <a:lnSpc>
                <a:spcPct val="110000"/>
              </a:lnSpc>
              <a:spcBef>
                <a:spcPts val="459"/>
              </a:spcBef>
              <a:buClr>
                <a:schemeClr val="accent1"/>
              </a:buClr>
              <a:defRPr sz="1838">
                <a:solidFill>
                  <a:srgbClr val="002C6C"/>
                </a:solidFill>
              </a:defRPr>
            </a:lvl1pPr>
            <a:lvl2pPr marL="683533" indent="-350035" defTabSz="560001">
              <a:lnSpc>
                <a:spcPct val="110000"/>
              </a:lnSpc>
              <a:spcBef>
                <a:spcPts val="459"/>
              </a:spcBef>
              <a:buClr>
                <a:schemeClr val="accent1"/>
              </a:buClr>
              <a:buChar char="­"/>
              <a:defRPr sz="1838">
                <a:solidFill>
                  <a:srgbClr val="002C6C"/>
                </a:solidFill>
              </a:defRPr>
            </a:lvl2pPr>
            <a:lvl3pPr marL="1009866" indent="-350035" defTabSz="560001">
              <a:lnSpc>
                <a:spcPct val="110000"/>
              </a:lnSpc>
              <a:spcBef>
                <a:spcPts val="459"/>
              </a:spcBef>
              <a:buClr>
                <a:schemeClr val="accent1"/>
              </a:buClr>
              <a:defRPr sz="1838">
                <a:solidFill>
                  <a:srgbClr val="002C6C"/>
                </a:solidFill>
              </a:defRPr>
            </a:lvl3pPr>
            <a:lvl4pPr marL="1287688" indent="-280001" defTabSz="560001">
              <a:lnSpc>
                <a:spcPct val="110000"/>
              </a:lnSpc>
              <a:spcBef>
                <a:spcPts val="459"/>
              </a:spcBef>
              <a:buClr>
                <a:schemeClr val="accent1"/>
              </a:buClr>
              <a:buChar char="­"/>
              <a:defRPr sz="1838">
                <a:solidFill>
                  <a:srgbClr val="002C6C"/>
                </a:solidFill>
              </a:defRPr>
            </a:lvl4pPr>
            <a:lvl5pPr marL="1552281" indent="-280001" defTabSz="560001">
              <a:lnSpc>
                <a:spcPct val="110000"/>
              </a:lnSpc>
              <a:spcBef>
                <a:spcPts val="459"/>
              </a:spcBef>
              <a:buClr>
                <a:schemeClr val="accent1"/>
              </a:buClr>
              <a:buChar char="•"/>
              <a:defRPr sz="1838">
                <a:solidFill>
                  <a:srgbClr val="002C6C"/>
                </a:solidFill>
              </a:defRPr>
            </a:lvl5pPr>
          </a:lstStyle>
          <a:p>
            <a:r>
              <a:t>Add text her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751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7095784" y="5858367"/>
            <a:ext cx="145192" cy="128351"/>
          </a:xfrm>
          <a:prstGeom prst="rect">
            <a:avLst/>
          </a:prstGeom>
        </p:spPr>
        <p:txBody>
          <a:bodyPr/>
          <a:lstStyle>
            <a:lvl1pPr>
              <a:defRPr sz="827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7" name="Picture 2" descr="Picture 2"/>
          <p:cNvPicPr>
            <a:picLocks noChangeAspect="1"/>
          </p:cNvPicPr>
          <p:nvPr userDrawn="1"/>
        </p:nvPicPr>
        <p:blipFill>
          <a:blip r:embed="rId3">
            <a:extLst/>
          </a:blip>
          <a:stretch>
            <a:fillRect/>
          </a:stretch>
        </p:blipFill>
        <p:spPr>
          <a:xfrm>
            <a:off x="535536" y="5683592"/>
            <a:ext cx="752102" cy="47789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48144036"/>
      </p:ext>
    </p:extLst>
  </p:cSld>
  <p:clrMapOvr>
    <a:masterClrMapping/>
  </p:clrMapOvr>
  <p:transition spd="med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029521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548459" y="1336976"/>
            <a:ext cx="10096091" cy="405730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074594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457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1904948"/>
            <a:ext cx="10096091" cy="348933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10093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7370" y="1337176"/>
            <a:ext cx="4799105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256" y="2051652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4"/>
            </a:lvl1pPr>
            <a:lvl2pPr>
              <a:lnSpc>
                <a:spcPct val="100000"/>
              </a:lnSpc>
              <a:buClr>
                <a:schemeClr val="accent1"/>
              </a:buClr>
              <a:defRPr sz="1194"/>
            </a:lvl2pPr>
            <a:lvl3pPr>
              <a:lnSpc>
                <a:spcPct val="100000"/>
              </a:lnSpc>
              <a:buClr>
                <a:schemeClr val="accent1"/>
              </a:buClr>
              <a:defRPr sz="1194"/>
            </a:lvl3pPr>
            <a:lvl4pPr>
              <a:lnSpc>
                <a:spcPct val="100000"/>
              </a:lnSpc>
              <a:buClr>
                <a:schemeClr val="accent1"/>
              </a:buClr>
              <a:defRPr sz="1194"/>
            </a:lvl4pPr>
            <a:lvl5pPr>
              <a:lnSpc>
                <a:spcPct val="100000"/>
              </a:lnSpc>
              <a:buClr>
                <a:schemeClr val="accent1"/>
              </a:buClr>
              <a:defRPr sz="1194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845731" y="1337176"/>
            <a:ext cx="4799883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847396" y="2051652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4"/>
            </a:lvl1pPr>
            <a:lvl2pPr>
              <a:lnSpc>
                <a:spcPct val="100000"/>
              </a:lnSpc>
              <a:buClr>
                <a:schemeClr val="accent1"/>
              </a:buClr>
              <a:defRPr sz="1194"/>
            </a:lvl2pPr>
            <a:lvl3pPr>
              <a:lnSpc>
                <a:spcPct val="100000"/>
              </a:lnSpc>
              <a:buClr>
                <a:schemeClr val="accent1"/>
              </a:buClr>
              <a:defRPr sz="1194"/>
            </a:lvl3pPr>
            <a:lvl4pPr>
              <a:lnSpc>
                <a:spcPct val="100000"/>
              </a:lnSpc>
              <a:buClr>
                <a:schemeClr val="accent1"/>
              </a:buClr>
              <a:defRPr sz="1194"/>
            </a:lvl4pPr>
            <a:lvl5pPr>
              <a:lnSpc>
                <a:spcPct val="100000"/>
              </a:lnSpc>
              <a:buClr>
                <a:schemeClr val="accent1"/>
              </a:buClr>
              <a:defRPr sz="1194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10348170" y="5830549"/>
            <a:ext cx="303231" cy="183989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0935991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796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246062"/>
            <a:ext cx="10096091" cy="31482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979534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106681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520317"/>
            <a:ext cx="10096091" cy="28739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620017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7371" y="1337176"/>
            <a:ext cx="4799105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258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845731" y="1337176"/>
            <a:ext cx="4799883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847396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10348170" y="5830549"/>
            <a:ext cx="303230" cy="183989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242982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4847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8478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0881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009277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7567653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568113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746805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1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3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288541869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1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3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48402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3348" tIns="99676" rIns="153348" bIns="153348" rtlCol="0" anchor="t" anchorCtr="0"/>
          <a:lstStyle/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</a:pPr>
            <a:endParaRPr lang="en-GB" sz="956" i="1">
              <a:solidFill>
                <a:prstClr val="white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53415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79343" marR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956" b="0" i="1" baseline="0">
                <a:solidFill>
                  <a:schemeClr val="bg1"/>
                </a:solidFill>
              </a:defRPr>
            </a:lvl1pPr>
            <a:lvl2pPr>
              <a:defRPr sz="1170" b="0" i="1">
                <a:solidFill>
                  <a:schemeClr val="bg1"/>
                </a:solidFill>
              </a:defRPr>
            </a:lvl2pPr>
            <a:lvl3pPr>
              <a:defRPr sz="1170" b="0" i="1">
                <a:solidFill>
                  <a:schemeClr val="bg1"/>
                </a:solidFill>
              </a:defRPr>
            </a:lvl3pPr>
            <a:lvl4pPr>
              <a:defRPr sz="1170" b="0" i="1">
                <a:solidFill>
                  <a:schemeClr val="bg1"/>
                </a:solidFill>
              </a:defRPr>
            </a:lvl4pPr>
            <a:lvl5pPr>
              <a:defRPr sz="1170" b="0" i="1">
                <a:solidFill>
                  <a:schemeClr val="bg1"/>
                </a:solidFill>
              </a:defRPr>
            </a:lvl5pPr>
          </a:lstStyle>
          <a:p>
            <a:pPr marL="79343" marR="0" lvl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170" b="0" i="1" noProof="0">
                <a:solidFill>
                  <a:schemeClr val="bg1"/>
                </a:solidFill>
              </a:rPr>
              <a:t>Caption or</a:t>
            </a:r>
            <a:r>
              <a:rPr lang="en-GB" sz="117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7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7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7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73970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9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85689593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9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874559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3348" tIns="99676" rIns="153348" bIns="153348" rtlCol="0" anchor="t" anchorCtr="0"/>
          <a:lstStyle/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</a:pPr>
            <a:endParaRPr lang="en-GB" sz="956" i="1">
              <a:solidFill>
                <a:prstClr val="white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974080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79343" marR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956" b="0" i="1">
                <a:solidFill>
                  <a:schemeClr val="bg1"/>
                </a:solidFill>
              </a:defRPr>
            </a:lvl1pPr>
            <a:lvl2pPr>
              <a:defRPr sz="1170" b="0" i="1">
                <a:solidFill>
                  <a:schemeClr val="bg1"/>
                </a:solidFill>
              </a:defRPr>
            </a:lvl2pPr>
            <a:lvl3pPr>
              <a:defRPr sz="1170" b="0" i="1">
                <a:solidFill>
                  <a:schemeClr val="bg1"/>
                </a:solidFill>
              </a:defRPr>
            </a:lvl3pPr>
            <a:lvl4pPr>
              <a:defRPr sz="1170" b="0" i="1">
                <a:solidFill>
                  <a:schemeClr val="bg1"/>
                </a:solidFill>
              </a:defRPr>
            </a:lvl4pPr>
            <a:lvl5pPr>
              <a:defRPr sz="1170" b="0" i="1">
                <a:solidFill>
                  <a:schemeClr val="bg1"/>
                </a:solidFill>
              </a:defRPr>
            </a:lvl5pPr>
          </a:lstStyle>
          <a:p>
            <a:pPr marL="79343" marR="0" lvl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170" b="0" i="1" noProof="0">
                <a:solidFill>
                  <a:schemeClr val="bg1"/>
                </a:solidFill>
              </a:rPr>
              <a:t>Caption or</a:t>
            </a:r>
            <a:r>
              <a:rPr lang="en-GB" sz="117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7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7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7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87730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55712" y="2238519"/>
            <a:ext cx="4783266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5851628" y="2238519"/>
            <a:ext cx="4797732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5851194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93320085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6870" y="1336534"/>
            <a:ext cx="10088804" cy="4066164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99"/>
            </a:lvl1pPr>
            <a:lvl2pPr>
              <a:lnSpc>
                <a:spcPct val="150000"/>
              </a:lnSpc>
              <a:defRPr sz="1599"/>
            </a:lvl2pPr>
            <a:lvl3pPr>
              <a:lnSpc>
                <a:spcPct val="150000"/>
              </a:lnSpc>
              <a:defRPr sz="1599"/>
            </a:lvl3pPr>
            <a:lvl4pPr>
              <a:lnSpc>
                <a:spcPct val="150000"/>
              </a:lnSpc>
              <a:defRPr sz="1599"/>
            </a:lvl4pPr>
            <a:lvl5pPr>
              <a:lnSpc>
                <a:spcPct val="150000"/>
              </a:lnSpc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02553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48477" y="1337176"/>
            <a:ext cx="3076420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78" b="1" i="0" baseline="0"/>
            </a:lvl1pPr>
          </a:lstStyle>
          <a:p>
            <a:pPr lvl="0"/>
            <a:r>
              <a:rPr lang="en-GB" noProof="0" smtClean="0"/>
              <a:t>Click to edit heading </a:t>
            </a:r>
            <a:endParaRPr lang="en-GB" noProof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8478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010"/>
            </a:lvl1pPr>
            <a:lvl2pPr>
              <a:lnSpc>
                <a:spcPct val="100000"/>
              </a:lnSpc>
              <a:buClr>
                <a:schemeClr val="accent1"/>
              </a:buClr>
              <a:defRPr sz="1010"/>
            </a:lvl2pPr>
            <a:lvl3pPr>
              <a:lnSpc>
                <a:spcPct val="100000"/>
              </a:lnSpc>
              <a:buClr>
                <a:schemeClr val="accent1"/>
              </a:buClr>
              <a:defRPr sz="1010"/>
            </a:lvl3pPr>
            <a:lvl4pPr>
              <a:lnSpc>
                <a:spcPct val="100000"/>
              </a:lnSpc>
              <a:buClr>
                <a:schemeClr val="accent1"/>
              </a:buClr>
              <a:defRPr sz="1010"/>
            </a:lvl4pPr>
            <a:lvl5pPr>
              <a:lnSpc>
                <a:spcPct val="100000"/>
              </a:lnSpc>
              <a:buClr>
                <a:schemeClr val="accent1"/>
              </a:buClr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08818" y="1337176"/>
            <a:ext cx="3076420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78" b="1" i="0" baseline="0"/>
            </a:lvl1pPr>
          </a:lstStyle>
          <a:p>
            <a:pPr lvl="0"/>
            <a:r>
              <a:rPr lang="en-GB" noProof="0" smtClean="0"/>
              <a:t>Click to edit heading </a:t>
            </a:r>
            <a:endParaRPr lang="en-GB" noProof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009277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010"/>
            </a:lvl1pPr>
            <a:lvl2pPr>
              <a:lnSpc>
                <a:spcPct val="100000"/>
              </a:lnSpc>
              <a:buClr>
                <a:schemeClr val="accent1"/>
              </a:buClr>
              <a:defRPr sz="1010"/>
            </a:lvl2pPr>
            <a:lvl3pPr>
              <a:lnSpc>
                <a:spcPct val="100000"/>
              </a:lnSpc>
              <a:buClr>
                <a:schemeClr val="accent1"/>
              </a:buClr>
              <a:defRPr sz="1010"/>
            </a:lvl3pPr>
            <a:lvl4pPr>
              <a:lnSpc>
                <a:spcPct val="100000"/>
              </a:lnSpc>
              <a:buClr>
                <a:schemeClr val="accent1"/>
              </a:buClr>
              <a:defRPr sz="1010"/>
            </a:lvl4pPr>
            <a:lvl5pPr>
              <a:lnSpc>
                <a:spcPct val="100000"/>
              </a:lnSpc>
              <a:buClr>
                <a:schemeClr val="accent1"/>
              </a:buClr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7567654" y="1337176"/>
            <a:ext cx="3076420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78" b="1" i="0" baseline="0"/>
            </a:lvl1pPr>
          </a:lstStyle>
          <a:p>
            <a:pPr lvl="0"/>
            <a:r>
              <a:rPr lang="en-GB" noProof="0" smtClean="0"/>
              <a:t>Click to edit heading </a:t>
            </a:r>
            <a:endParaRPr lang="en-GB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568112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010"/>
            </a:lvl1pPr>
            <a:lvl2pPr>
              <a:lnSpc>
                <a:spcPct val="100000"/>
              </a:lnSpc>
              <a:buClr>
                <a:schemeClr val="accent1"/>
              </a:buClr>
              <a:defRPr sz="1010"/>
            </a:lvl2pPr>
            <a:lvl3pPr>
              <a:lnSpc>
                <a:spcPct val="100000"/>
              </a:lnSpc>
              <a:buClr>
                <a:schemeClr val="accent1"/>
              </a:buClr>
              <a:defRPr sz="1010"/>
            </a:lvl3pPr>
            <a:lvl4pPr>
              <a:lnSpc>
                <a:spcPct val="100000"/>
              </a:lnSpc>
              <a:buClr>
                <a:schemeClr val="accent1"/>
              </a:buClr>
              <a:defRPr sz="1010"/>
            </a:lvl4pPr>
            <a:lvl5pPr>
              <a:lnSpc>
                <a:spcPct val="100000"/>
              </a:lnSpc>
              <a:buClr>
                <a:schemeClr val="accent1"/>
              </a:buClr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9063818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600700" y="1449894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451399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814916" y="1451399"/>
            <a:ext cx="4834444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2040" y="3556002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14916" y="3556002"/>
            <a:ext cx="4834444" cy="1681692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 kern="120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 kern="1200"/>
            </a:lvl3pPr>
            <a:lvl4pPr>
              <a:lnSpc>
                <a:spcPct val="100000"/>
              </a:lnSpc>
              <a:spcBef>
                <a:spcPts val="429"/>
              </a:spcBef>
              <a:defRPr sz="1170" kern="1200"/>
            </a:lvl4pPr>
            <a:lvl5pPr>
              <a:lnSpc>
                <a:spcPct val="100000"/>
              </a:lnSpc>
              <a:spcBef>
                <a:spcPts val="429"/>
              </a:spcBef>
              <a:defRPr sz="117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717977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00700" y="1449894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794446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795744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52040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553339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794446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5795744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175779670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2816" y="1627240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530066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52816" y="2925042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4692142" y="2827868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552816" y="4222843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692142" y="4125670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9376480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0553" y="1440160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46624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  <a:lvl2pPr>
              <a:lnSpc>
                <a:spcPts val="1917"/>
              </a:lnSpc>
              <a:defRPr sz="1280"/>
            </a:lvl2pPr>
            <a:lvl3pPr>
              <a:lnSpc>
                <a:spcPts val="1917"/>
              </a:lnSpc>
              <a:defRPr sz="1280"/>
            </a:lvl3pPr>
            <a:lvl4pPr>
              <a:lnSpc>
                <a:spcPts val="1917"/>
              </a:lnSpc>
              <a:defRPr sz="1280"/>
            </a:lvl4pPr>
            <a:lvl5pPr>
              <a:lnSpc>
                <a:spcPts val="1917"/>
              </a:lnSpc>
              <a:defRPr sz="12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48476" y="4197343"/>
            <a:ext cx="10101953" cy="11780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803292" y="1440160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799363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  <a:lvl2pPr>
              <a:lnSpc>
                <a:spcPts val="1917"/>
              </a:lnSpc>
              <a:defRPr sz="1280"/>
            </a:lvl2pPr>
            <a:lvl3pPr>
              <a:lnSpc>
                <a:spcPts val="1917"/>
              </a:lnSpc>
              <a:defRPr sz="1280"/>
            </a:lvl3pPr>
            <a:lvl4pPr>
              <a:lnSpc>
                <a:spcPts val="1917"/>
              </a:lnSpc>
              <a:defRPr sz="1280"/>
            </a:lvl4pPr>
            <a:lvl5pPr>
              <a:lnSpc>
                <a:spcPts val="1917"/>
              </a:lnSpc>
              <a:defRPr sz="12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056201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8317538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4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4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4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4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4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50982" y="1440160"/>
            <a:ext cx="2317148" cy="737426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623686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2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2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2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2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2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3087153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5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5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5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5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5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550620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3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3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3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3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3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3091044" y="1440160"/>
            <a:ext cx="2317148" cy="737426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5620520" y="1440160"/>
            <a:ext cx="2317148" cy="737426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8328484" y="1440160"/>
            <a:ext cx="2317148" cy="737426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117684965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1118" y="1392424"/>
            <a:ext cx="10102392" cy="382046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88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541116" y="1756591"/>
            <a:ext cx="10093892" cy="439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990286" y="3571228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541116" y="4973579"/>
            <a:ext cx="10093892" cy="353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 b="1" i="0">
                <a:solidFill>
                  <a:schemeClr val="accent1"/>
                </a:solidFill>
              </a:defRPr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990286" y="4497338"/>
            <a:ext cx="9652554" cy="30945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541116" y="2181983"/>
            <a:ext cx="10093892" cy="12778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 b="0" baseline="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990286" y="3879684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990286" y="4188140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544079" y="357307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544079" y="387839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544079" y="418760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544079" y="4497134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190902897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porate Visual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708802" y="2630949"/>
            <a:ext cx="7930602" cy="66808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2205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 smtClean="0"/>
              <a:t>Title of Presentation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08808" y="3417254"/>
            <a:ext cx="7930594" cy="51655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70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704397" y="4044374"/>
            <a:ext cx="7924820" cy="316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22342" y="4175245"/>
            <a:ext cx="7917060" cy="47914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22335" y="4696356"/>
            <a:ext cx="7917083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018408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Divider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86025" y="1900564"/>
            <a:ext cx="9451762" cy="7834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715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886034" y="863419"/>
            <a:ext cx="9451766" cy="8187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675"/>
              </a:lnSpc>
              <a:defRPr sz="3063" b="0" i="0" cap="none" spc="61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 smtClean="0"/>
              <a:t>Divider Slide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6930540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60070" y="1470185"/>
            <a:ext cx="10081260" cy="41582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171A08-0EA3-4A23-9B68-CDB27CFE98DF}" type="slidenum">
              <a:rPr lang="zh-CN" altLang="zh-CN"/>
              <a:t>‹#›</a:t>
            </a:fld>
            <a:endParaRPr lang="zh-CN" altLang="zh-CN" sz="2205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80099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8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73" tIns="34287" rIns="68573" bIns="34287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buFontTx/>
              <a:buNone/>
              <a:defRPr sz="2450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t>‹#›</a:t>
            </a:fld>
            <a:endParaRPr lang="en-US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4" y="211487"/>
            <a:ext cx="9871235" cy="832568"/>
          </a:xfrm>
        </p:spPr>
        <p:txBody>
          <a:bodyPr/>
          <a:lstStyle/>
          <a:p>
            <a:r>
              <a:rPr lang="en-US" dirty="0" smtClean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5626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4"/>
            </a:lvl1pPr>
            <a:lvl2pPr>
              <a:lnSpc>
                <a:spcPct val="100000"/>
              </a:lnSpc>
              <a:buClr>
                <a:schemeClr val="accent1"/>
              </a:buClr>
              <a:defRPr sz="1194"/>
            </a:lvl2pPr>
            <a:lvl3pPr>
              <a:lnSpc>
                <a:spcPct val="100000"/>
              </a:lnSpc>
              <a:buClr>
                <a:schemeClr val="accent1"/>
              </a:buClr>
              <a:defRPr sz="1194"/>
            </a:lvl3pPr>
            <a:lvl4pPr>
              <a:lnSpc>
                <a:spcPct val="100000"/>
              </a:lnSpc>
              <a:buClr>
                <a:schemeClr val="accent1"/>
              </a:buClr>
              <a:defRPr sz="1194"/>
            </a:lvl4pPr>
            <a:lvl5pPr>
              <a:lnSpc>
                <a:spcPct val="100000"/>
              </a:lnSpc>
              <a:buClr>
                <a:schemeClr val="accent1"/>
              </a:buClr>
              <a:defRPr sz="1194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0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2" y="1508219"/>
            <a:ext cx="4768007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4867080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lIns="68580" tIns="34290" rIns="68580" bIns="34290"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3" y="2994088"/>
            <a:ext cx="5850010" cy="928821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defRPr sz="1715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3" y="4282307"/>
            <a:ext cx="5850010" cy="928821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defRPr sz="1715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lIns="68580" tIns="34290" rIns="68580" bIns="34290"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lIns="68580" tIns="34290" rIns="68580" bIns="34290"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3" y="1604996"/>
            <a:ext cx="5850010" cy="928821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defRPr sz="1715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2943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8"/>
            <a:ext cx="10101953" cy="796713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 marL="0" indent="0">
              <a:buFontTx/>
              <a:buNone/>
              <a:defRPr sz="2205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246060"/>
            <a:ext cx="10096091" cy="31482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73" tIns="34287" rIns="68573" bIns="34287" numCol="1" anchor="t" anchorCtr="0" compatLnSpc="1"/>
          <a:lstStyle>
            <a:lvl1pPr>
              <a:defRPr sz="1838"/>
            </a:lvl1pPr>
            <a:lvl2pPr>
              <a:defRPr sz="1838"/>
            </a:lvl2pPr>
            <a:lvl3pPr>
              <a:defRPr sz="1838"/>
            </a:lvl3pPr>
            <a:lvl4pPr>
              <a:defRPr sz="1838"/>
            </a:lvl4pPr>
            <a:lvl5pPr>
              <a:defRPr sz="1838"/>
            </a:lvl5pPr>
          </a:lstStyle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45277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5" y="2290061"/>
            <a:ext cx="9854563" cy="32221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5" y="1337177"/>
            <a:ext cx="9854563" cy="91821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5600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2450" b="1" i="0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5600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997172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840105" y="1957329"/>
            <a:ext cx="9521190" cy="1350586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680210" y="3570447"/>
            <a:ext cx="7840980" cy="161020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60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0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0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00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60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20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048AD-526C-4A9E-8EFE-53BEDB70F0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86664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770096" y="5839898"/>
            <a:ext cx="2520315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710464" y="5839898"/>
            <a:ext cx="3780473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289859" y="5905788"/>
            <a:ext cx="2520315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60">
                <a:solidFill>
                  <a:srgbClr val="002060"/>
                </a:solidFill>
                <a:latin typeface="华文行楷" panose="02010800040101010101" pitchFamily="2" charset="-122"/>
                <a:ea typeface="华文行楷" panose="02010800040101010101" pitchFamily="2" charset="-122"/>
              </a:defRPr>
            </a:lvl1pPr>
          </a:lstStyle>
          <a:p>
            <a:r>
              <a:rPr lang="zh-CN" altLang="en-US"/>
              <a:t>中国物品编码中心</a:t>
            </a:r>
            <a:endParaRPr lang="zh-CN" altLang="en-US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47754025"/>
      </p:ext>
    </p:extLst>
  </p:cSld>
  <p:clrMapOvr>
    <a:masterClrMapping/>
  </p:clrMapOvr>
  <p:transition spd="med" advClick="0" advTm="0">
    <p:pull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560070" y="5839898"/>
            <a:ext cx="2613660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827145" y="5839898"/>
            <a:ext cx="3547110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027670" y="5839898"/>
            <a:ext cx="2613660" cy="335459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1827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4"/>
            <a:ext cx="9854563" cy="3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8" y="1338007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Main idea, quote, or phrase two lines and under may go in this text box. </a:t>
            </a:r>
            <a:endParaRPr lang="en-GB" noProof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4" y="211488"/>
            <a:ext cx="9871235" cy="832568"/>
          </a:xfrm>
        </p:spPr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93889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677136" y="2102572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77136" y="1338005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zh-CN" altLang="en-US" noProof="0" smtClean="0"/>
              <a:t>单击此处编辑母版文本样式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zh-CN" altLang="en-US" noProof="0" smtClean="0"/>
              <a:t>单击此处编辑母版标题样式</a:t>
            </a:r>
            <a:endParaRPr lang="en-GB" noProof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buNone/>
            </a:pPr>
            <a:fld id="{9A0DB2DC-4C9A-4742-B13C-FB6460FD3503}" type="slidenum">
              <a:rPr lang="en-GB" altLang="zh-CN" dirty="0">
                <a:latin typeface="Verdana" panose="020B0604030504040204" pitchFamily="34" charset="0"/>
                <a:ea typeface="宋体" panose="02010600030101010101" pitchFamily="2" charset="-122"/>
                <a:cs typeface="Verdana" panose="020B0604030504040204" pitchFamily="34" charset="0"/>
              </a:rPr>
              <a:pPr lvl="0">
                <a:buNone/>
              </a:pPr>
              <a:t>‹#›</a:t>
            </a:fld>
            <a:endParaRPr lang="en-GB" altLang="zh-CN" dirty="0">
              <a:latin typeface="Verdana" panose="020B060403050404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36179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4"/>
            <a:ext cx="9854563" cy="3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8" y="1338007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Main idea, quote, or phrase two lines and under may go in this text box. </a:t>
            </a:r>
            <a:endParaRPr lang="en-GB" noProof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4" y="211488"/>
            <a:ext cx="9871235" cy="832568"/>
          </a:xfrm>
        </p:spPr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806889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4"/>
            <a:ext cx="9854563" cy="3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8" y="1338007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Main idea, quote, or phrase two lines and under may go in this text box. </a:t>
            </a:r>
            <a:endParaRPr lang="en-GB" noProof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4" y="211488"/>
            <a:ext cx="9871235" cy="832568"/>
          </a:xfrm>
        </p:spPr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81926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0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4"/>
            </a:lvl1pPr>
            <a:lvl2pPr>
              <a:lnSpc>
                <a:spcPct val="100000"/>
              </a:lnSpc>
              <a:buClr>
                <a:schemeClr val="accent1"/>
              </a:buClr>
              <a:defRPr sz="1194"/>
            </a:lvl2pPr>
            <a:lvl3pPr>
              <a:lnSpc>
                <a:spcPct val="100000"/>
              </a:lnSpc>
              <a:buClr>
                <a:schemeClr val="accent1"/>
              </a:buClr>
              <a:defRPr sz="1194"/>
            </a:lvl3pPr>
            <a:lvl4pPr>
              <a:lnSpc>
                <a:spcPct val="100000"/>
              </a:lnSpc>
              <a:buClr>
                <a:schemeClr val="accent1"/>
              </a:buClr>
              <a:defRPr sz="1194"/>
            </a:lvl4pPr>
            <a:lvl5pPr>
              <a:lnSpc>
                <a:spcPct val="100000"/>
              </a:lnSpc>
              <a:buClr>
                <a:schemeClr val="accent1"/>
              </a:buClr>
              <a:defRPr sz="1194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2" y="1508221"/>
            <a:ext cx="4768007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548402" y="4271395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2283" tIns="85984" rIns="132283" bIns="132283" rtlCol="0" anchor="t" anchorCtr="0"/>
          <a:lstStyle/>
          <a:p>
            <a:pPr marL="0" marR="0" indent="0" algn="l" defTabSz="8398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27" b="0" i="1" noProof="0" dirty="0" smtClean="0">
              <a:solidFill>
                <a:schemeClr val="bg1"/>
              </a:solidFill>
            </a:endParaRPr>
          </a:p>
          <a:p>
            <a:pPr marL="0" marR="0" indent="0" algn="l" defTabSz="8398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27" b="0" i="1" noProof="0" dirty="0" smtClean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827" b="0" i="1" noProof="0" dirty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53415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68206" marR="0" indent="0" algn="l" defTabSz="419943" rtl="0" eaLnBrk="1" fontAlgn="base" latinLnBrk="0" hangingPunct="1">
              <a:lnSpc>
                <a:spcPct val="110000"/>
              </a:lnSpc>
              <a:spcBef>
                <a:spcPts val="367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827" b="0" i="1" baseline="0">
                <a:solidFill>
                  <a:schemeClr val="bg1"/>
                </a:solidFill>
              </a:defRPr>
            </a:lvl1pPr>
            <a:lvl2pPr>
              <a:defRPr sz="1010" b="0" i="1">
                <a:solidFill>
                  <a:schemeClr val="bg1"/>
                </a:solidFill>
              </a:defRPr>
            </a:lvl2pPr>
            <a:lvl3pPr>
              <a:defRPr sz="1010" b="0" i="1">
                <a:solidFill>
                  <a:schemeClr val="bg1"/>
                </a:solidFill>
              </a:defRPr>
            </a:lvl3pPr>
            <a:lvl4pPr>
              <a:defRPr sz="1010" b="0" i="1">
                <a:solidFill>
                  <a:schemeClr val="bg1"/>
                </a:solidFill>
              </a:defRPr>
            </a:lvl4pPr>
            <a:lvl5pPr>
              <a:defRPr sz="1010" b="0" i="1">
                <a:solidFill>
                  <a:schemeClr val="bg1"/>
                </a:solidFill>
              </a:defRPr>
            </a:lvl5pPr>
          </a:lstStyle>
          <a:p>
            <a:pPr marL="68206" marR="0" lvl="0" indent="0" algn="l" defTabSz="419943" rtl="0" eaLnBrk="1" fontAlgn="base" latinLnBrk="0" hangingPunct="1">
              <a:lnSpc>
                <a:spcPct val="110000"/>
              </a:lnSpc>
              <a:spcBef>
                <a:spcPts val="367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010" b="0" i="1" noProof="0" dirty="0" smtClean="0">
                <a:solidFill>
                  <a:schemeClr val="bg1"/>
                </a:solidFill>
              </a:rPr>
              <a:t>Caption or</a:t>
            </a:r>
            <a:r>
              <a:rPr lang="en-GB" sz="1010" b="0" i="1" baseline="0" noProof="0" dirty="0" smtClean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010" b="0" i="1" noProof="0" dirty="0" smtClean="0">
                <a:solidFill>
                  <a:schemeClr val="bg1"/>
                </a:solidFill>
              </a:rPr>
              <a:t>You may adjust the height of this box</a:t>
            </a:r>
            <a:r>
              <a:rPr lang="en-GB" sz="1010" b="0" i="1" baseline="0" noProof="0" dirty="0" smtClean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010" b="0" i="1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30582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2" y="299408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2" y="4282251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604939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9376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73875"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defTabSz="973875"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4922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8" y="1501465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4"/>
            </a:lvl1pPr>
            <a:lvl2pPr>
              <a:lnSpc>
                <a:spcPct val="100000"/>
              </a:lnSpc>
              <a:buClr>
                <a:schemeClr val="accent1"/>
              </a:buClr>
              <a:defRPr sz="1194"/>
            </a:lvl2pPr>
            <a:lvl3pPr>
              <a:lnSpc>
                <a:spcPct val="100000"/>
              </a:lnSpc>
              <a:buClr>
                <a:schemeClr val="accent1"/>
              </a:buClr>
              <a:defRPr sz="1194"/>
            </a:lvl3pPr>
            <a:lvl4pPr>
              <a:lnSpc>
                <a:spcPct val="100000"/>
              </a:lnSpc>
              <a:buClr>
                <a:schemeClr val="accent1"/>
              </a:buClr>
              <a:defRPr sz="1194"/>
            </a:lvl4pPr>
            <a:lvl5pPr>
              <a:lnSpc>
                <a:spcPct val="100000"/>
              </a:lnSpc>
              <a:buClr>
                <a:schemeClr val="accent1"/>
              </a:buClr>
              <a:defRPr sz="1194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8" y="1508219"/>
            <a:ext cx="4768007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656524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8" y="1501465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4"/>
            </a:lvl1pPr>
            <a:lvl2pPr>
              <a:lnSpc>
                <a:spcPct val="100000"/>
              </a:lnSpc>
              <a:buClr>
                <a:schemeClr val="accent1"/>
              </a:buClr>
              <a:defRPr sz="1194"/>
            </a:lvl2pPr>
            <a:lvl3pPr>
              <a:lnSpc>
                <a:spcPct val="100000"/>
              </a:lnSpc>
              <a:buClr>
                <a:schemeClr val="accent1"/>
              </a:buClr>
              <a:defRPr sz="1194"/>
            </a:lvl3pPr>
            <a:lvl4pPr>
              <a:lnSpc>
                <a:spcPct val="100000"/>
              </a:lnSpc>
              <a:buClr>
                <a:schemeClr val="accent1"/>
              </a:buClr>
              <a:defRPr sz="1194"/>
            </a:lvl4pPr>
            <a:lvl5pPr>
              <a:lnSpc>
                <a:spcPct val="100000"/>
              </a:lnSpc>
              <a:buClr>
                <a:schemeClr val="accent1"/>
              </a:buClr>
              <a:defRPr sz="1194"/>
            </a:lvl5pPr>
          </a:lstStyle>
          <a:p>
            <a:pPr lvl="0"/>
            <a:r>
              <a:rPr lang="en-GB" noProof="0" dirty="0" smtClean="0"/>
              <a:t>Add text here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8" y="1508221"/>
            <a:ext cx="4768007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  <p:sp>
        <p:nvSpPr>
          <p:cNvPr id="24" name="Rectangle 23"/>
          <p:cNvSpPr/>
          <p:nvPr userDrawn="1"/>
        </p:nvSpPr>
        <p:spPr>
          <a:xfrm>
            <a:off x="5874558" y="4271395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2283" tIns="85984" rIns="132283" bIns="132283" rtlCol="0" anchor="t" anchorCtr="0"/>
          <a:lstStyle/>
          <a:p>
            <a:pPr marL="0" marR="0" indent="0" algn="l" defTabSz="8398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27" b="0" i="1" noProof="0" dirty="0" smtClean="0">
              <a:solidFill>
                <a:schemeClr val="bg1"/>
              </a:solidFill>
            </a:endParaRPr>
          </a:p>
          <a:p>
            <a:pPr marL="0" marR="0" indent="0" algn="l" defTabSz="8398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27" b="0" i="1" noProof="0" dirty="0" smtClean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827" b="0" i="1" noProof="0" dirty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974080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68206" marR="0" indent="0" algn="l" defTabSz="419943" rtl="0" eaLnBrk="1" fontAlgn="base" latinLnBrk="0" hangingPunct="1">
              <a:lnSpc>
                <a:spcPct val="110000"/>
              </a:lnSpc>
              <a:spcBef>
                <a:spcPts val="367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827" b="0" i="1">
                <a:solidFill>
                  <a:schemeClr val="bg1"/>
                </a:solidFill>
              </a:defRPr>
            </a:lvl1pPr>
            <a:lvl2pPr>
              <a:defRPr sz="1010" b="0" i="1">
                <a:solidFill>
                  <a:schemeClr val="bg1"/>
                </a:solidFill>
              </a:defRPr>
            </a:lvl2pPr>
            <a:lvl3pPr>
              <a:defRPr sz="1010" b="0" i="1">
                <a:solidFill>
                  <a:schemeClr val="bg1"/>
                </a:solidFill>
              </a:defRPr>
            </a:lvl3pPr>
            <a:lvl4pPr>
              <a:defRPr sz="1010" b="0" i="1">
                <a:solidFill>
                  <a:schemeClr val="bg1"/>
                </a:solidFill>
              </a:defRPr>
            </a:lvl4pPr>
            <a:lvl5pPr>
              <a:defRPr sz="1010" b="0" i="1">
                <a:solidFill>
                  <a:schemeClr val="bg1"/>
                </a:solidFill>
              </a:defRPr>
            </a:lvl5pPr>
          </a:lstStyle>
          <a:p>
            <a:pPr marL="68206" marR="0" lvl="0" indent="0" algn="l" defTabSz="419943" rtl="0" eaLnBrk="1" fontAlgn="base" latinLnBrk="0" hangingPunct="1">
              <a:lnSpc>
                <a:spcPct val="110000"/>
              </a:lnSpc>
              <a:spcBef>
                <a:spcPts val="367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010" b="0" i="1" noProof="0" dirty="0" smtClean="0">
                <a:solidFill>
                  <a:schemeClr val="bg1"/>
                </a:solidFill>
              </a:rPr>
              <a:t>Caption or</a:t>
            </a:r>
            <a:r>
              <a:rPr lang="en-GB" sz="1010" b="0" i="1" baseline="0" noProof="0" dirty="0" smtClean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010" b="0" i="1" noProof="0" dirty="0" smtClean="0">
                <a:solidFill>
                  <a:schemeClr val="bg1"/>
                </a:solidFill>
              </a:rPr>
              <a:t>You may adjust the height of this box</a:t>
            </a:r>
            <a:r>
              <a:rPr lang="en-GB" sz="1010" b="0" i="1" baseline="0" noProof="0" dirty="0" smtClean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010" b="0" i="1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9632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55713" y="2238519"/>
            <a:ext cx="4783266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5851628" y="2238519"/>
            <a:ext cx="4797732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Here </a:t>
            </a:r>
            <a:endParaRPr lang="en-GB" noProof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501465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5851194" y="1501465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3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25303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rporate Visual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708802" y="2630949"/>
            <a:ext cx="7930602" cy="66808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2205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 smtClean="0"/>
              <a:t>Title of Presentation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08808" y="3417254"/>
            <a:ext cx="7930594" cy="51655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70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704397" y="4044374"/>
            <a:ext cx="7924820" cy="316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22342" y="4175245"/>
            <a:ext cx="7917060" cy="47914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22335" y="4696356"/>
            <a:ext cx="7917083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925763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6869" y="1336533"/>
            <a:ext cx="10088804" cy="4066164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378"/>
            </a:lvl1pPr>
            <a:lvl2pPr>
              <a:lnSpc>
                <a:spcPct val="150000"/>
              </a:lnSpc>
              <a:defRPr sz="1378"/>
            </a:lvl2pPr>
            <a:lvl3pPr>
              <a:lnSpc>
                <a:spcPct val="150000"/>
              </a:lnSpc>
              <a:defRPr sz="1378"/>
            </a:lvl3pPr>
            <a:lvl4pPr>
              <a:lnSpc>
                <a:spcPct val="150000"/>
              </a:lnSpc>
              <a:defRPr sz="1378"/>
            </a:lvl4pPr>
            <a:lvl5pPr>
              <a:lnSpc>
                <a:spcPct val="150000"/>
              </a:lnSpc>
              <a:defRPr sz="1378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Agenda Slide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133132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600700" y="1449892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451399"/>
            <a:ext cx="4848683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67"/>
              </a:spcBef>
              <a:defRPr sz="1010"/>
            </a:lvl1pPr>
            <a:lvl2pPr>
              <a:lnSpc>
                <a:spcPct val="100000"/>
              </a:lnSpc>
              <a:spcBef>
                <a:spcPts val="367"/>
              </a:spcBef>
              <a:defRPr sz="1010"/>
            </a:lvl2pPr>
            <a:lvl3pPr>
              <a:lnSpc>
                <a:spcPct val="100000"/>
              </a:lnSpc>
              <a:spcBef>
                <a:spcPts val="367"/>
              </a:spcBef>
              <a:defRPr sz="1010"/>
            </a:lvl3pPr>
            <a:lvl4pPr>
              <a:lnSpc>
                <a:spcPct val="100000"/>
              </a:lnSpc>
              <a:spcBef>
                <a:spcPts val="367"/>
              </a:spcBef>
              <a:defRPr sz="1010"/>
            </a:lvl4pPr>
            <a:lvl5pPr>
              <a:lnSpc>
                <a:spcPct val="100000"/>
              </a:lnSpc>
              <a:spcBef>
                <a:spcPts val="367"/>
              </a:spcBef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814916" y="1451399"/>
            <a:ext cx="4834444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67"/>
              </a:spcBef>
              <a:defRPr sz="1010"/>
            </a:lvl1pPr>
            <a:lvl2pPr>
              <a:lnSpc>
                <a:spcPct val="100000"/>
              </a:lnSpc>
              <a:spcBef>
                <a:spcPts val="367"/>
              </a:spcBef>
              <a:defRPr sz="1010"/>
            </a:lvl2pPr>
            <a:lvl3pPr>
              <a:lnSpc>
                <a:spcPct val="100000"/>
              </a:lnSpc>
              <a:spcBef>
                <a:spcPts val="367"/>
              </a:spcBef>
              <a:defRPr sz="1010"/>
            </a:lvl3pPr>
            <a:lvl4pPr>
              <a:lnSpc>
                <a:spcPct val="100000"/>
              </a:lnSpc>
              <a:spcBef>
                <a:spcPts val="367"/>
              </a:spcBef>
              <a:defRPr sz="1010"/>
            </a:lvl4pPr>
            <a:lvl5pPr>
              <a:lnSpc>
                <a:spcPct val="100000"/>
              </a:lnSpc>
              <a:spcBef>
                <a:spcPts val="367"/>
              </a:spcBef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2040" y="3556002"/>
            <a:ext cx="4848683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67"/>
              </a:spcBef>
              <a:defRPr sz="1010"/>
            </a:lvl1pPr>
            <a:lvl2pPr>
              <a:lnSpc>
                <a:spcPct val="100000"/>
              </a:lnSpc>
              <a:spcBef>
                <a:spcPts val="367"/>
              </a:spcBef>
              <a:defRPr sz="1010"/>
            </a:lvl2pPr>
            <a:lvl3pPr>
              <a:lnSpc>
                <a:spcPct val="100000"/>
              </a:lnSpc>
              <a:spcBef>
                <a:spcPts val="367"/>
              </a:spcBef>
              <a:defRPr sz="1010"/>
            </a:lvl3pPr>
            <a:lvl4pPr>
              <a:lnSpc>
                <a:spcPct val="100000"/>
              </a:lnSpc>
              <a:spcBef>
                <a:spcPts val="367"/>
              </a:spcBef>
              <a:defRPr sz="1010"/>
            </a:lvl4pPr>
            <a:lvl5pPr>
              <a:lnSpc>
                <a:spcPct val="100000"/>
              </a:lnSpc>
              <a:spcBef>
                <a:spcPts val="367"/>
              </a:spcBef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14916" y="3556002"/>
            <a:ext cx="4834444" cy="1681692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367"/>
              </a:spcBef>
              <a:defRPr sz="1010" kern="1200"/>
            </a:lvl1pPr>
            <a:lvl2pPr>
              <a:lnSpc>
                <a:spcPct val="100000"/>
              </a:lnSpc>
              <a:spcBef>
                <a:spcPts val="367"/>
              </a:spcBef>
              <a:defRPr sz="1010"/>
            </a:lvl2pPr>
            <a:lvl3pPr>
              <a:lnSpc>
                <a:spcPct val="100000"/>
              </a:lnSpc>
              <a:spcBef>
                <a:spcPts val="367"/>
              </a:spcBef>
              <a:defRPr sz="1010" kern="1200"/>
            </a:lvl3pPr>
            <a:lvl4pPr>
              <a:lnSpc>
                <a:spcPct val="100000"/>
              </a:lnSpc>
              <a:spcBef>
                <a:spcPts val="367"/>
              </a:spcBef>
              <a:defRPr sz="1010" kern="1200"/>
            </a:lvl4pPr>
            <a:lvl5pPr>
              <a:lnSpc>
                <a:spcPct val="100000"/>
              </a:lnSpc>
              <a:spcBef>
                <a:spcPts val="367"/>
              </a:spcBef>
              <a:defRPr sz="1010" kern="120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579845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00700" y="1449892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845831"/>
            <a:ext cx="4848683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10"/>
            </a:lvl1pPr>
            <a:lvl2pPr>
              <a:lnSpc>
                <a:spcPct val="100000"/>
              </a:lnSpc>
              <a:defRPr sz="1010"/>
            </a:lvl2pPr>
            <a:lvl3pPr>
              <a:lnSpc>
                <a:spcPct val="100000"/>
              </a:lnSpc>
              <a:defRPr sz="1010"/>
            </a:lvl3pPr>
            <a:lvl4pPr>
              <a:lnSpc>
                <a:spcPct val="100000"/>
              </a:lnSpc>
              <a:defRPr sz="1010"/>
            </a:lvl4pPr>
            <a:lvl5pPr>
              <a:lnSpc>
                <a:spcPct val="100000"/>
              </a:lnSpc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194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794446" y="1845831"/>
            <a:ext cx="4848683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10"/>
            </a:lvl1pPr>
            <a:lvl2pPr>
              <a:lnSpc>
                <a:spcPct val="100000"/>
              </a:lnSpc>
              <a:defRPr sz="1010"/>
            </a:lvl2pPr>
            <a:lvl3pPr>
              <a:lnSpc>
                <a:spcPct val="100000"/>
              </a:lnSpc>
              <a:defRPr sz="1010"/>
            </a:lvl3pPr>
            <a:lvl4pPr>
              <a:lnSpc>
                <a:spcPct val="100000"/>
              </a:lnSpc>
              <a:defRPr sz="1010"/>
            </a:lvl4pPr>
            <a:lvl5pPr>
              <a:lnSpc>
                <a:spcPct val="100000"/>
              </a:lnSpc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795744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194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52040" y="3863593"/>
            <a:ext cx="4848683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10"/>
            </a:lvl1pPr>
            <a:lvl2pPr>
              <a:lnSpc>
                <a:spcPct val="100000"/>
              </a:lnSpc>
              <a:defRPr sz="1010"/>
            </a:lvl2pPr>
            <a:lvl3pPr>
              <a:lnSpc>
                <a:spcPct val="100000"/>
              </a:lnSpc>
              <a:defRPr sz="1010"/>
            </a:lvl3pPr>
            <a:lvl4pPr>
              <a:lnSpc>
                <a:spcPct val="100000"/>
              </a:lnSpc>
              <a:defRPr sz="1010"/>
            </a:lvl4pPr>
            <a:lvl5pPr>
              <a:lnSpc>
                <a:spcPct val="100000"/>
              </a:lnSpc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553339" y="3472789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194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794446" y="3863593"/>
            <a:ext cx="4848683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10"/>
            </a:lvl1pPr>
            <a:lvl2pPr>
              <a:lnSpc>
                <a:spcPct val="100000"/>
              </a:lnSpc>
              <a:defRPr sz="1010"/>
            </a:lvl2pPr>
            <a:lvl3pPr>
              <a:lnSpc>
                <a:spcPct val="100000"/>
              </a:lnSpc>
              <a:defRPr sz="1010"/>
            </a:lvl3pPr>
            <a:lvl4pPr>
              <a:lnSpc>
                <a:spcPct val="100000"/>
              </a:lnSpc>
              <a:defRPr sz="1010"/>
            </a:lvl4pPr>
            <a:lvl5pPr>
              <a:lnSpc>
                <a:spcPct val="100000"/>
              </a:lnSpc>
              <a:defRPr sz="1010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5795744" y="3472789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194" b="1" i="0"/>
            </a:lvl1pPr>
          </a:lstStyle>
          <a:p>
            <a:pPr lvl="0"/>
            <a:r>
              <a:rPr lang="en-GB" noProof="0" smtClean="0"/>
              <a:t>Click to edit heading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886364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2815" y="1627241"/>
            <a:ext cx="3731816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7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530066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2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52815" y="2925043"/>
            <a:ext cx="3731816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7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4692142" y="2827868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2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552815" y="4222844"/>
            <a:ext cx="3731816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7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692142" y="4125669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2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004454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0553" y="1440159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7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46625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2"/>
            </a:lvl1pPr>
            <a:lvl2pPr>
              <a:lnSpc>
                <a:spcPts val="1653"/>
              </a:lnSpc>
              <a:defRPr sz="1102"/>
            </a:lvl2pPr>
            <a:lvl3pPr>
              <a:lnSpc>
                <a:spcPts val="1653"/>
              </a:lnSpc>
              <a:defRPr sz="1102"/>
            </a:lvl3pPr>
            <a:lvl4pPr>
              <a:lnSpc>
                <a:spcPts val="1653"/>
              </a:lnSpc>
              <a:defRPr sz="1102"/>
            </a:lvl4pPr>
            <a:lvl5pPr>
              <a:lnSpc>
                <a:spcPts val="1653"/>
              </a:lnSpc>
              <a:defRPr sz="1102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48477" y="4197342"/>
            <a:ext cx="10101953" cy="11780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1994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653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Conclusion or summary based on the two boxes above may go here. The text in the box may be up to three lines in this space.</a:t>
            </a:r>
            <a:endParaRPr lang="en-GB" noProof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803292" y="1440159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378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799363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2"/>
            </a:lvl1pPr>
            <a:lvl2pPr>
              <a:lnSpc>
                <a:spcPts val="1653"/>
              </a:lnSpc>
              <a:defRPr sz="1102"/>
            </a:lvl2pPr>
            <a:lvl3pPr>
              <a:lnSpc>
                <a:spcPts val="1653"/>
              </a:lnSpc>
              <a:defRPr sz="1102"/>
            </a:lvl3pPr>
            <a:lvl4pPr>
              <a:lnSpc>
                <a:spcPts val="1653"/>
              </a:lnSpc>
              <a:defRPr sz="1102"/>
            </a:lvl4pPr>
            <a:lvl5pPr>
              <a:lnSpc>
                <a:spcPts val="1653"/>
              </a:lnSpc>
              <a:defRPr sz="1102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274105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8317538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25995">
              <a:lnSpc>
                <a:spcPct val="100000"/>
              </a:lnSpc>
              <a:buClr>
                <a:schemeClr val="accent4"/>
              </a:buClr>
              <a:defRPr sz="827"/>
            </a:lvl1pPr>
            <a:lvl2pPr marL="248022" indent="-125664">
              <a:lnSpc>
                <a:spcPct val="100000"/>
              </a:lnSpc>
              <a:buClr>
                <a:schemeClr val="accent4"/>
              </a:buClr>
              <a:defRPr sz="827"/>
            </a:lvl2pPr>
            <a:lvl3pPr marL="330696" indent="-125664" algn="l">
              <a:lnSpc>
                <a:spcPct val="100000"/>
              </a:lnSpc>
              <a:buClr>
                <a:schemeClr val="accent4"/>
              </a:buClr>
              <a:defRPr sz="827"/>
            </a:lvl3pPr>
            <a:lvl4pPr marL="469588" indent="-125664">
              <a:lnSpc>
                <a:spcPct val="100000"/>
              </a:lnSpc>
              <a:buClr>
                <a:schemeClr val="accent4"/>
              </a:buClr>
              <a:defRPr sz="827"/>
            </a:lvl4pPr>
            <a:lvl5pPr marL="601867" indent="-125664">
              <a:lnSpc>
                <a:spcPct val="100000"/>
              </a:lnSpc>
              <a:buClr>
                <a:schemeClr val="accent4"/>
              </a:buClr>
              <a:defRPr sz="827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50981" y="1440159"/>
            <a:ext cx="2317148" cy="737426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01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</a:t>
            </a:r>
            <a:br>
              <a:rPr lang="en-GB" noProof="0" smtClean="0"/>
            </a:br>
            <a:r>
              <a:rPr lang="en-GB" noProof="0" smtClean="0"/>
              <a:t>edit title</a:t>
            </a:r>
            <a:endParaRPr lang="en-GB" noProof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623686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25995">
              <a:lnSpc>
                <a:spcPct val="100000"/>
              </a:lnSpc>
              <a:buClr>
                <a:schemeClr val="accent2"/>
              </a:buClr>
              <a:defRPr sz="827"/>
            </a:lvl1pPr>
            <a:lvl2pPr marL="248022" indent="-125664">
              <a:lnSpc>
                <a:spcPct val="100000"/>
              </a:lnSpc>
              <a:buClr>
                <a:schemeClr val="accent2"/>
              </a:buClr>
              <a:defRPr sz="827"/>
            </a:lvl2pPr>
            <a:lvl3pPr marL="330696" indent="-125664" algn="l">
              <a:lnSpc>
                <a:spcPct val="100000"/>
              </a:lnSpc>
              <a:buClr>
                <a:schemeClr val="accent2"/>
              </a:buClr>
              <a:defRPr sz="827"/>
            </a:lvl3pPr>
            <a:lvl4pPr marL="469588" indent="-125664">
              <a:lnSpc>
                <a:spcPct val="100000"/>
              </a:lnSpc>
              <a:buClr>
                <a:schemeClr val="accent2"/>
              </a:buClr>
              <a:defRPr sz="827"/>
            </a:lvl4pPr>
            <a:lvl5pPr marL="601867" indent="-125664">
              <a:lnSpc>
                <a:spcPct val="100000"/>
              </a:lnSpc>
              <a:buClr>
                <a:schemeClr val="accent2"/>
              </a:buClr>
              <a:defRPr sz="827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 smtClean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3087153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25995">
              <a:lnSpc>
                <a:spcPct val="100000"/>
              </a:lnSpc>
              <a:buClr>
                <a:schemeClr val="accent5"/>
              </a:buClr>
              <a:defRPr sz="827"/>
            </a:lvl1pPr>
            <a:lvl2pPr marL="248022" indent="-125664">
              <a:lnSpc>
                <a:spcPct val="100000"/>
              </a:lnSpc>
              <a:buClr>
                <a:schemeClr val="accent5"/>
              </a:buClr>
              <a:defRPr sz="827"/>
            </a:lvl2pPr>
            <a:lvl3pPr marL="330696" indent="-125664" algn="l">
              <a:lnSpc>
                <a:spcPct val="100000"/>
              </a:lnSpc>
              <a:buClr>
                <a:schemeClr val="accent5"/>
              </a:buClr>
              <a:defRPr sz="827"/>
            </a:lvl3pPr>
            <a:lvl4pPr marL="469588" indent="-125664">
              <a:lnSpc>
                <a:spcPct val="100000"/>
              </a:lnSpc>
              <a:buClr>
                <a:schemeClr val="accent5"/>
              </a:buClr>
              <a:defRPr sz="827"/>
            </a:lvl4pPr>
            <a:lvl5pPr marL="601867" indent="-125664">
              <a:lnSpc>
                <a:spcPct val="100000"/>
              </a:lnSpc>
              <a:buClr>
                <a:schemeClr val="accent5"/>
              </a:buClr>
              <a:defRPr sz="827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 smtClean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550621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25995">
              <a:lnSpc>
                <a:spcPct val="100000"/>
              </a:lnSpc>
              <a:buClr>
                <a:schemeClr val="accent3"/>
              </a:buClr>
              <a:defRPr sz="827"/>
            </a:lvl1pPr>
            <a:lvl2pPr marL="248022" indent="-125664">
              <a:lnSpc>
                <a:spcPct val="100000"/>
              </a:lnSpc>
              <a:buClr>
                <a:schemeClr val="accent3"/>
              </a:buClr>
              <a:defRPr sz="827"/>
            </a:lvl2pPr>
            <a:lvl3pPr marL="330696" indent="-125664" algn="l">
              <a:lnSpc>
                <a:spcPct val="100000"/>
              </a:lnSpc>
              <a:buClr>
                <a:schemeClr val="accent3"/>
              </a:buClr>
              <a:defRPr sz="827"/>
            </a:lvl3pPr>
            <a:lvl4pPr marL="469588" indent="-125664">
              <a:lnSpc>
                <a:spcPct val="100000"/>
              </a:lnSpc>
              <a:buClr>
                <a:schemeClr val="accent3"/>
              </a:buClr>
              <a:defRPr sz="827"/>
            </a:lvl4pPr>
            <a:lvl5pPr marL="601867" indent="-125664">
              <a:lnSpc>
                <a:spcPct val="100000"/>
              </a:lnSpc>
              <a:buClr>
                <a:schemeClr val="accent3"/>
              </a:buClr>
              <a:defRPr sz="827"/>
            </a:lvl5pPr>
          </a:lstStyle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  <a:p>
            <a:pPr lvl="0"/>
            <a:endParaRPr lang="en-GB" noProof="0" smtClean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3091043" y="1440159"/>
            <a:ext cx="2317148" cy="737426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01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</a:t>
            </a:r>
            <a:br>
              <a:rPr lang="en-GB" noProof="0" smtClean="0"/>
            </a:br>
            <a:r>
              <a:rPr lang="en-GB" noProof="0" smtClean="0"/>
              <a:t>edit title</a:t>
            </a:r>
            <a:endParaRPr lang="en-GB" noProof="0"/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5620518" y="1440159"/>
            <a:ext cx="2317148" cy="737426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01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</a:t>
            </a:r>
            <a:br>
              <a:rPr lang="en-GB" noProof="0" smtClean="0"/>
            </a:br>
            <a:r>
              <a:rPr lang="en-GB" noProof="0" smtClean="0"/>
              <a:t>edit title</a:t>
            </a:r>
            <a:endParaRPr lang="en-GB" noProof="0"/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8328483" y="1440159"/>
            <a:ext cx="2317148" cy="737426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01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</a:t>
            </a:r>
            <a:br>
              <a:rPr lang="en-GB" noProof="0" smtClean="0"/>
            </a:br>
            <a:r>
              <a:rPr lang="en-GB" noProof="0" smtClean="0"/>
              <a:t>edit tit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253879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ontact Information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1115" y="1392424"/>
            <a:ext cx="10102393" cy="382046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286" b="1" i="0"/>
            </a:lvl1pPr>
          </a:lstStyle>
          <a:p>
            <a:pPr lvl="0"/>
            <a:r>
              <a:rPr lang="en-GB" noProof="0" smtClean="0"/>
              <a:t>Name</a:t>
            </a:r>
            <a:endParaRPr lang="en-GB" noProof="0"/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541115" y="1756589"/>
            <a:ext cx="10093892" cy="43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68206" indent="0">
              <a:buNone/>
              <a:defRPr sz="1102"/>
            </a:lvl1pPr>
            <a:lvl2pPr marL="250089" indent="0">
              <a:buNone/>
              <a:defRPr/>
            </a:lvl2pPr>
            <a:lvl3pPr marL="494804" indent="0">
              <a:buNone/>
              <a:defRPr/>
            </a:lvl3pPr>
            <a:lvl4pPr marL="755661" indent="0">
              <a:buNone/>
              <a:defRPr/>
            </a:lvl4pPr>
            <a:lvl5pPr marL="954078" indent="0">
              <a:buNone/>
              <a:defRPr/>
            </a:lvl5pPr>
          </a:lstStyle>
          <a:p>
            <a:r>
              <a:rPr lang="en-GB" noProof="0" smtClean="0"/>
              <a:t>Title</a:t>
            </a:r>
            <a:endParaRPr lang="en-GB" noProof="0"/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990286" y="3571226"/>
            <a:ext cx="9652554" cy="319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68206" indent="0">
              <a:buNone/>
              <a:defRPr sz="1102"/>
            </a:lvl1pPr>
            <a:lvl2pPr marL="250089" indent="0">
              <a:buNone/>
              <a:defRPr/>
            </a:lvl2pPr>
            <a:lvl3pPr marL="494804" indent="0">
              <a:buNone/>
              <a:defRPr/>
            </a:lvl3pPr>
            <a:lvl4pPr marL="755661" indent="0">
              <a:buNone/>
              <a:defRPr/>
            </a:lvl4pPr>
            <a:lvl5pPr marL="954078" indent="0">
              <a:buNone/>
              <a:defRPr/>
            </a:lvl5pPr>
          </a:lstStyle>
          <a:p>
            <a:pPr lvl="0"/>
            <a:r>
              <a:rPr lang="en-GB" noProof="0" smtClean="0"/>
              <a:t>+00 (0)00 0000 0000</a:t>
            </a:r>
            <a:endParaRPr lang="en-GB" noProof="0"/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541115" y="4973578"/>
            <a:ext cx="10093892" cy="35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68206" indent="0">
              <a:buNone/>
              <a:defRPr sz="1102" b="1" i="0">
                <a:solidFill>
                  <a:schemeClr val="accent1"/>
                </a:solidFill>
              </a:defRPr>
            </a:lvl1pPr>
            <a:lvl2pPr marL="250089" indent="0">
              <a:buNone/>
              <a:defRPr/>
            </a:lvl2pPr>
            <a:lvl3pPr marL="494804" indent="0">
              <a:buNone/>
              <a:defRPr/>
            </a:lvl3pPr>
            <a:lvl4pPr marL="755661" indent="0">
              <a:buNone/>
              <a:defRPr/>
            </a:lvl4pPr>
            <a:lvl5pPr marL="954078" indent="0">
              <a:buNone/>
              <a:defRPr/>
            </a:lvl5pPr>
          </a:lstStyle>
          <a:p>
            <a:pPr lvl="0"/>
            <a:r>
              <a:rPr lang="en-GB" noProof="0" smtClean="0"/>
              <a:t>www.gs1.org</a:t>
            </a:r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990286" y="4497337"/>
            <a:ext cx="9652554" cy="309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68206" indent="0">
              <a:buNone/>
              <a:defRPr sz="1102"/>
            </a:lvl1pPr>
            <a:lvl2pPr marL="250089" indent="0">
              <a:buNone/>
              <a:defRPr/>
            </a:lvl2pPr>
            <a:lvl3pPr marL="494804" indent="0">
              <a:buNone/>
              <a:defRPr/>
            </a:lvl3pPr>
            <a:lvl4pPr marL="755661" indent="0">
              <a:buNone/>
              <a:defRPr/>
            </a:lvl4pPr>
            <a:lvl5pPr marL="954078" indent="0">
              <a:buNone/>
              <a:defRPr/>
            </a:lvl5pPr>
          </a:lstStyle>
          <a:p>
            <a:pPr lvl="0"/>
            <a:r>
              <a:rPr lang="en-GB" noProof="0" smtClean="0"/>
              <a:t>name@gs1.org</a:t>
            </a:r>
            <a:endParaRPr lang="en-GB" noProof="0"/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541115" y="2181983"/>
            <a:ext cx="10093892" cy="127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68206" indent="0">
              <a:buNone/>
              <a:defRPr sz="1102" b="0" baseline="0"/>
            </a:lvl1pPr>
            <a:lvl2pPr marL="250089" indent="0">
              <a:buNone/>
              <a:defRPr/>
            </a:lvl2pPr>
            <a:lvl3pPr marL="494804" indent="0">
              <a:buNone/>
              <a:defRPr/>
            </a:lvl3pPr>
            <a:lvl4pPr marL="755661" indent="0">
              <a:buNone/>
              <a:defRPr/>
            </a:lvl4pPr>
            <a:lvl5pPr marL="954078" indent="0">
              <a:buNone/>
              <a:defRPr/>
            </a:lvl5pPr>
          </a:lstStyle>
          <a:p>
            <a:pPr lvl="0"/>
            <a:r>
              <a:rPr lang="en-GB" noProof="0" smtClean="0"/>
              <a:t>GS1 Address</a:t>
            </a:r>
            <a:endParaRPr lang="en-GB" noProof="0"/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990286" y="3879683"/>
            <a:ext cx="9652554" cy="319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68206" indent="0">
              <a:buNone/>
              <a:defRPr sz="1102"/>
            </a:lvl1pPr>
            <a:lvl2pPr marL="250089" indent="0">
              <a:buNone/>
              <a:defRPr/>
            </a:lvl2pPr>
            <a:lvl3pPr marL="494804" indent="0">
              <a:buNone/>
              <a:defRPr/>
            </a:lvl3pPr>
            <a:lvl4pPr marL="755661" indent="0">
              <a:buNone/>
              <a:defRPr/>
            </a:lvl4pPr>
            <a:lvl5pPr marL="954078" indent="0">
              <a:buNone/>
              <a:defRPr/>
            </a:lvl5pPr>
          </a:lstStyle>
          <a:p>
            <a:pPr lvl="0"/>
            <a:r>
              <a:rPr lang="en-GB" noProof="0" smtClean="0"/>
              <a:t>+00 (0)00 0000 0000</a:t>
            </a:r>
            <a:endParaRPr lang="en-GB" noProof="0"/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990286" y="4188139"/>
            <a:ext cx="9652554" cy="319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68206" indent="0">
              <a:buNone/>
              <a:defRPr sz="1102"/>
            </a:lvl1pPr>
            <a:lvl2pPr marL="250089" indent="0">
              <a:buNone/>
              <a:defRPr/>
            </a:lvl2pPr>
            <a:lvl3pPr marL="494804" indent="0">
              <a:buNone/>
              <a:defRPr/>
            </a:lvl3pPr>
            <a:lvl4pPr marL="755661" indent="0">
              <a:buNone/>
              <a:defRPr/>
            </a:lvl4pPr>
            <a:lvl5pPr marL="954078" indent="0">
              <a:buNone/>
              <a:defRPr/>
            </a:lvl5pPr>
          </a:lstStyle>
          <a:p>
            <a:pPr lvl="0"/>
            <a:r>
              <a:rPr lang="en-GB" noProof="0" smtClean="0"/>
              <a:t>+00 (0)00 0000 0000</a:t>
            </a:r>
            <a:endParaRPr lang="en-GB" noProof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544080" y="3573071"/>
            <a:ext cx="357050" cy="325754"/>
          </a:xfrm>
          <a:prstGeom prst="rect">
            <a:avLst/>
          </a:prstGeom>
        </p:spPr>
        <p:txBody>
          <a:bodyPr vert="horz" lIns="72000" rIns="0"/>
          <a:lstStyle>
            <a:lvl1pPr marL="68206" indent="0" algn="l">
              <a:buNone/>
              <a:defRPr sz="1102" b="1" i="0"/>
            </a:lvl1pPr>
          </a:lstStyle>
          <a:p>
            <a:pPr lvl="0"/>
            <a:r>
              <a:rPr lang="en-GB" noProof="0" smtClean="0"/>
              <a:t>T</a:t>
            </a:r>
            <a:endParaRPr lang="en-GB" noProof="0"/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544080" y="3878391"/>
            <a:ext cx="357050" cy="325754"/>
          </a:xfrm>
          <a:prstGeom prst="rect">
            <a:avLst/>
          </a:prstGeom>
        </p:spPr>
        <p:txBody>
          <a:bodyPr vert="horz" lIns="72000" rIns="0"/>
          <a:lstStyle>
            <a:lvl1pPr marL="68206" indent="0" algn="l">
              <a:buNone/>
              <a:defRPr sz="1102" b="1" i="0"/>
            </a:lvl1pPr>
          </a:lstStyle>
          <a:p>
            <a:pPr lvl="0"/>
            <a:r>
              <a:rPr lang="en-GB" noProof="0" smtClean="0"/>
              <a:t>D</a:t>
            </a:r>
            <a:endParaRPr lang="en-GB" noProof="0"/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544080" y="4187601"/>
            <a:ext cx="357050" cy="325754"/>
          </a:xfrm>
          <a:prstGeom prst="rect">
            <a:avLst/>
          </a:prstGeom>
        </p:spPr>
        <p:txBody>
          <a:bodyPr vert="horz" lIns="72000" rIns="0"/>
          <a:lstStyle>
            <a:lvl1pPr marL="68206" indent="0" algn="l">
              <a:buNone/>
              <a:defRPr sz="1102" b="1" i="0"/>
            </a:lvl1pPr>
          </a:lstStyle>
          <a:p>
            <a:pPr lvl="0"/>
            <a:r>
              <a:rPr lang="en-GB" noProof="0" smtClean="0"/>
              <a:t>M</a:t>
            </a:r>
            <a:endParaRPr lang="en-GB" noProof="0"/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544080" y="4497134"/>
            <a:ext cx="357050" cy="325754"/>
          </a:xfrm>
          <a:prstGeom prst="rect">
            <a:avLst/>
          </a:prstGeom>
        </p:spPr>
        <p:txBody>
          <a:bodyPr vert="horz" lIns="72000" rIns="0"/>
          <a:lstStyle>
            <a:lvl1pPr marL="68206" indent="0" algn="l">
              <a:buNone/>
              <a:defRPr sz="1102" b="1" i="0"/>
            </a:lvl1pPr>
          </a:lstStyle>
          <a:p>
            <a:pPr lvl="0"/>
            <a:r>
              <a:rPr lang="en-GB" noProof="0" smtClean="0"/>
              <a:t>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22969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40" b="1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99100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40" b="1">
                <a:solidFill>
                  <a:schemeClr val="tx2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72725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048747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23336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1933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048747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989900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048747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624163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odGroup_Content">
  <p:cSld name="FoodGroup_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Google Shape;43;p5"/>
          <p:cNvCxnSpPr/>
          <p:nvPr/>
        </p:nvCxnSpPr>
        <p:spPr>
          <a:xfrm>
            <a:off x="648553" y="6033891"/>
            <a:ext cx="0" cy="105289"/>
          </a:xfrm>
          <a:prstGeom prst="straightConnector1">
            <a:avLst/>
          </a:prstGeom>
          <a:noFill/>
          <a:ln w="9525" cap="flat" cmpd="sng">
            <a:solidFill>
              <a:srgbClr val="36464D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4" name="Google Shape;44;p5"/>
          <p:cNvSpPr txBox="1">
            <a:spLocks noGrp="1"/>
          </p:cNvSpPr>
          <p:nvPr>
            <p:ph type="title"/>
          </p:nvPr>
        </p:nvSpPr>
        <p:spPr>
          <a:xfrm>
            <a:off x="325661" y="207413"/>
            <a:ext cx="10527038" cy="5275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800"/>
              <a:buFont typeface="Arial"/>
              <a:buNone/>
              <a:defRPr sz="1654" b="1" i="0" u="none" strike="noStrike" cap="none">
                <a:solidFill>
                  <a:srgbClr val="0F653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/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ftr" idx="11"/>
          </p:nvPr>
        </p:nvSpPr>
        <p:spPr>
          <a:xfrm>
            <a:off x="648553" y="5920426"/>
            <a:ext cx="9001178" cy="3354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20053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40105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60158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68021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100263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520315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940368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36042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5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sldNum" idx="12"/>
          </p:nvPr>
        </p:nvSpPr>
        <p:spPr>
          <a:xfrm>
            <a:off x="0" y="5927408"/>
            <a:ext cx="686490" cy="3354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27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7" name="Google Shape;47;p5"/>
          <p:cNvSpPr txBox="1">
            <a:spLocks noGrp="1"/>
          </p:cNvSpPr>
          <p:nvPr>
            <p:ph type="body" idx="1"/>
          </p:nvPr>
        </p:nvSpPr>
        <p:spPr>
          <a:xfrm>
            <a:off x="337176" y="934757"/>
            <a:ext cx="10527038" cy="4795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20053" marR="0" lvl="0" indent="-21002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540"/>
              <a:buFont typeface="Arial"/>
              <a:buNone/>
              <a:defRPr sz="1286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40105" marR="0" lvl="1" indent="-29170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400"/>
              <a:buFont typeface="Arial"/>
              <a:buChar char="•"/>
              <a:defRPr sz="1286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60158" marR="0" lvl="2" indent="-29170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400"/>
              <a:buFont typeface="Arial"/>
              <a:buChar char="–"/>
              <a:defRPr sz="1286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80210" marR="0" lvl="3" indent="-29170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400"/>
              <a:buFont typeface="Arial"/>
              <a:buChar char="•"/>
              <a:defRPr sz="1286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100263" marR="0" lvl="4" indent="-29170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6532"/>
              </a:buClr>
              <a:buSzPts val="1400"/>
              <a:buFont typeface="Arial"/>
              <a:buChar char="–"/>
              <a:defRPr sz="1286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20315" marR="0" lvl="5" indent="-29170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 typeface="Arial"/>
              <a:buChar char="•"/>
              <a:defRPr sz="1286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40368" marR="0" lvl="6" indent="-29170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 typeface="Merriweather Sans"/>
              <a:buChar char="-"/>
              <a:defRPr sz="1286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360420" marR="0" lvl="7" indent="-29170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 typeface="Merriweather Sans"/>
              <a:buChar char="-"/>
              <a:defRPr sz="1286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80473" marR="0" lvl="8" indent="-29170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400"/>
              <a:buFont typeface="Merriweather Sans"/>
              <a:buChar char="-"/>
              <a:defRPr sz="1286" b="0" i="0" u="none" strike="noStrike" cap="none">
                <a:solidFill>
                  <a:srgbClr val="3C464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48" name="Google Shape;48;p5"/>
          <p:cNvCxnSpPr/>
          <p:nvPr/>
        </p:nvCxnSpPr>
        <p:spPr>
          <a:xfrm>
            <a:off x="442275" y="744967"/>
            <a:ext cx="10410173" cy="0"/>
          </a:xfrm>
          <a:prstGeom prst="straightConnector1">
            <a:avLst/>
          </a:prstGeom>
          <a:noFill/>
          <a:ln w="22225" cap="flat" cmpd="sng">
            <a:solidFill>
              <a:srgbClr val="0F653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5668402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1248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60190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7625"/>
            <a:ext cx="9858870" cy="3732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677136" y="1750220"/>
            <a:ext cx="9854563" cy="3762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02788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Divider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86025" y="1900564"/>
            <a:ext cx="9451762" cy="7834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715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886034" y="863419"/>
            <a:ext cx="9451766" cy="8187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675"/>
              </a:lnSpc>
              <a:defRPr sz="3063" b="0" i="0" cap="none" spc="61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 smtClean="0"/>
              <a:t>Divider Slide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882638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86025" y="1900519"/>
            <a:ext cx="9451762" cy="7834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86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886021" y="863418"/>
            <a:ext cx="9451766" cy="8187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2756"/>
              </a:lnSpc>
              <a:defRPr sz="2297" b="0" i="0" cap="none" spc="46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 smtClean="0"/>
              <a:t>Divider Slide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52954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Photo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549079" y="601890"/>
            <a:ext cx="10106228" cy="4502233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Only Divider Slide </a:t>
            </a:r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0288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86025" y="1900519"/>
            <a:ext cx="9451762" cy="7834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86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886021" y="863418"/>
            <a:ext cx="9451766" cy="8187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2756"/>
              </a:lnSpc>
              <a:defRPr sz="2297" b="0" i="0" cap="none" spc="46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 smtClean="0"/>
              <a:t>Divider Slide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6027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9687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Photo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549079" y="612771"/>
            <a:ext cx="10106228" cy="4502233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Only Divider Slide </a:t>
            </a:r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7845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86025" y="1900519"/>
            <a:ext cx="9451762" cy="7834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86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886021" y="863418"/>
            <a:ext cx="9451766" cy="8187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2756"/>
              </a:lnSpc>
              <a:defRPr sz="2297" b="0" i="0" cap="none" spc="46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 smtClean="0"/>
              <a:t>Divider Slide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6027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Photo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549079" y="612771"/>
            <a:ext cx="10106228" cy="4502233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Photo Only Divider Slide </a:t>
            </a:r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7845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72159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266700" y="5131594"/>
            <a:ext cx="10744200" cy="116919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7534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able 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548622" y="506504"/>
            <a:ext cx="10103691" cy="4623484"/>
          </a:xfrm>
          <a:prstGeom prst="rect">
            <a:avLst/>
          </a:prstGeom>
          <a:solidFill>
            <a:srgbClr val="B1B3B3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0" noProof="0"/>
          </a:p>
        </p:txBody>
      </p:sp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86025" y="1900519"/>
            <a:ext cx="9451762" cy="7834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86" b="0" i="0" cap="none" spc="83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886021" y="863418"/>
            <a:ext cx="9451766" cy="8187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2756"/>
              </a:lnSpc>
              <a:defRPr sz="2297" b="0" i="0" cap="none" spc="46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 dirty="0" smtClean="0"/>
              <a:t>Editable Color in Master Divider Slide</a:t>
            </a:r>
            <a:br>
              <a:rPr lang="en-GB" noProof="0" dirty="0" smtClean="0"/>
            </a:br>
            <a:r>
              <a:rPr lang="en-GB" noProof="0" dirty="0" smtClean="0"/>
              <a:t>Second Line Titl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1302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88176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548459" y="1336976"/>
            <a:ext cx="10096091" cy="405730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2184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457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1904948"/>
            <a:ext cx="10096091" cy="348933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60416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796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246062"/>
            <a:ext cx="10096091" cy="31482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19804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2" y="299408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2" y="4282251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604939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3120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106681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520317"/>
            <a:ext cx="10096091" cy="28739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42167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7371" y="1337176"/>
            <a:ext cx="4799105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258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845731" y="1337176"/>
            <a:ext cx="4799883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847396" y="2051651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10348170" y="5830549"/>
            <a:ext cx="303230" cy="183989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22252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4847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8478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08817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009277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7567653" y="1337176"/>
            <a:ext cx="3076421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99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568113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70"/>
            </a:lvl1pPr>
            <a:lvl2pPr>
              <a:lnSpc>
                <a:spcPct val="100000"/>
              </a:lnSpc>
              <a:buClr>
                <a:schemeClr val="accent1"/>
              </a:buClr>
              <a:defRPr sz="1170"/>
            </a:lvl2pPr>
            <a:lvl3pPr>
              <a:lnSpc>
                <a:spcPct val="100000"/>
              </a:lnSpc>
              <a:buClr>
                <a:schemeClr val="accent1"/>
              </a:buClr>
              <a:defRPr sz="1170"/>
            </a:lvl3pPr>
            <a:lvl4pPr>
              <a:lnSpc>
                <a:spcPct val="100000"/>
              </a:lnSpc>
              <a:buClr>
                <a:schemeClr val="accent1"/>
              </a:buClr>
              <a:defRPr sz="1170"/>
            </a:lvl4pPr>
            <a:lvl5pPr>
              <a:lnSpc>
                <a:spcPct val="100000"/>
              </a:lnSpc>
              <a:buClr>
                <a:schemeClr val="accent1"/>
              </a:buClr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15411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1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3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42290634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1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3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48402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3348" tIns="99676" rIns="153348" bIns="153348" rtlCol="0" anchor="t" anchorCtr="0"/>
          <a:lstStyle/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</a:pPr>
            <a:endParaRPr lang="en-GB" sz="956" i="1">
              <a:solidFill>
                <a:prstClr val="white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53415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79343" marR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956" b="0" i="1" baseline="0">
                <a:solidFill>
                  <a:schemeClr val="bg1"/>
                </a:solidFill>
              </a:defRPr>
            </a:lvl1pPr>
            <a:lvl2pPr>
              <a:defRPr sz="1170" b="0" i="1">
                <a:solidFill>
                  <a:schemeClr val="bg1"/>
                </a:solidFill>
              </a:defRPr>
            </a:lvl2pPr>
            <a:lvl3pPr>
              <a:defRPr sz="1170" b="0" i="1">
                <a:solidFill>
                  <a:schemeClr val="bg1"/>
                </a:solidFill>
              </a:defRPr>
            </a:lvl3pPr>
            <a:lvl4pPr>
              <a:defRPr sz="1170" b="0" i="1">
                <a:solidFill>
                  <a:schemeClr val="bg1"/>
                </a:solidFill>
              </a:defRPr>
            </a:lvl4pPr>
            <a:lvl5pPr>
              <a:defRPr sz="1170" b="0" i="1">
                <a:solidFill>
                  <a:schemeClr val="bg1"/>
                </a:solidFill>
              </a:defRPr>
            </a:lvl5pPr>
          </a:lstStyle>
          <a:p>
            <a:pPr marL="79343" marR="0" lvl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170" b="0" i="1" noProof="0">
                <a:solidFill>
                  <a:schemeClr val="bg1"/>
                </a:solidFill>
              </a:rPr>
              <a:t>Caption or</a:t>
            </a:r>
            <a:r>
              <a:rPr lang="en-GB" sz="117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7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7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7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96411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9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19"/>
            <a:ext cx="4768006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37137703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53339" y="1501464"/>
            <a:ext cx="4978139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4996" y="2222673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84"/>
            </a:lvl1pPr>
            <a:lvl2pPr>
              <a:lnSpc>
                <a:spcPct val="100000"/>
              </a:lnSpc>
              <a:buClr>
                <a:schemeClr val="accent1"/>
              </a:buClr>
              <a:defRPr sz="1384"/>
            </a:lvl2pPr>
            <a:lvl3pPr>
              <a:lnSpc>
                <a:spcPct val="100000"/>
              </a:lnSpc>
              <a:buClr>
                <a:schemeClr val="accent1"/>
              </a:buClr>
              <a:defRPr sz="1384"/>
            </a:lvl3pPr>
            <a:lvl4pPr>
              <a:lnSpc>
                <a:spcPct val="100000"/>
              </a:lnSpc>
              <a:buClr>
                <a:schemeClr val="accent1"/>
              </a:buClr>
              <a:defRPr sz="1384"/>
            </a:lvl4pPr>
            <a:lvl5pPr>
              <a:lnSpc>
                <a:spcPct val="100000"/>
              </a:lnSpc>
              <a:buClr>
                <a:schemeClr val="accent1"/>
              </a:buClr>
              <a:defRPr sz="1384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874557" y="1508220"/>
            <a:ext cx="4768006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874559" y="4271394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3348" tIns="99676" rIns="153348" bIns="153348" rtlCol="0" anchor="t" anchorCtr="0"/>
          <a:lstStyle/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  <a:defRPr/>
            </a:pPr>
            <a:endParaRPr lang="en-GB" sz="956" i="1">
              <a:solidFill>
                <a:prstClr val="white"/>
              </a:solidFill>
            </a:endParaRPr>
          </a:p>
          <a:p>
            <a:pPr defTabSz="973900">
              <a:lnSpc>
                <a:spcPct val="110000"/>
              </a:lnSpc>
            </a:pPr>
            <a:endParaRPr lang="en-GB" sz="956" i="1">
              <a:solidFill>
                <a:prstClr val="white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974080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79343" marR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956" b="0" i="1">
                <a:solidFill>
                  <a:schemeClr val="bg1"/>
                </a:solidFill>
              </a:defRPr>
            </a:lvl1pPr>
            <a:lvl2pPr>
              <a:defRPr sz="1170" b="0" i="1">
                <a:solidFill>
                  <a:schemeClr val="bg1"/>
                </a:solidFill>
              </a:defRPr>
            </a:lvl2pPr>
            <a:lvl3pPr>
              <a:defRPr sz="1170" b="0" i="1">
                <a:solidFill>
                  <a:schemeClr val="bg1"/>
                </a:solidFill>
              </a:defRPr>
            </a:lvl3pPr>
            <a:lvl4pPr>
              <a:defRPr sz="1170" b="0" i="1">
                <a:solidFill>
                  <a:schemeClr val="bg1"/>
                </a:solidFill>
              </a:defRPr>
            </a:lvl4pPr>
            <a:lvl5pPr>
              <a:defRPr sz="1170" b="0" i="1">
                <a:solidFill>
                  <a:schemeClr val="bg1"/>
                </a:solidFill>
              </a:defRPr>
            </a:lvl5pPr>
          </a:lstStyle>
          <a:p>
            <a:pPr marL="79343" marR="0" lvl="0" indent="0" algn="l" defTabSz="486950" rtl="0" eaLnBrk="1" fontAlgn="base" latinLnBrk="0" hangingPunct="1">
              <a:lnSpc>
                <a:spcPct val="110000"/>
              </a:lnSpc>
              <a:spcBef>
                <a:spcPts val="429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170" b="0" i="1" noProof="0">
                <a:solidFill>
                  <a:schemeClr val="bg1"/>
                </a:solidFill>
              </a:rPr>
              <a:t>Caption or</a:t>
            </a:r>
            <a:r>
              <a:rPr lang="en-GB" sz="117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7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7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7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311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55712" y="2238519"/>
            <a:ext cx="4783266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5851628" y="2238519"/>
            <a:ext cx="4797732" cy="300084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88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5851194" y="1501464"/>
            <a:ext cx="4786398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6395218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6870" y="1336534"/>
            <a:ext cx="10088804" cy="4066164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99"/>
            </a:lvl1pPr>
            <a:lvl2pPr>
              <a:lnSpc>
                <a:spcPct val="150000"/>
              </a:lnSpc>
              <a:defRPr sz="1599"/>
            </a:lvl2pPr>
            <a:lvl3pPr>
              <a:lnSpc>
                <a:spcPct val="150000"/>
              </a:lnSpc>
              <a:defRPr sz="1599"/>
            </a:lvl3pPr>
            <a:lvl4pPr>
              <a:lnSpc>
                <a:spcPct val="150000"/>
              </a:lnSpc>
              <a:defRPr sz="1599"/>
            </a:lvl4pPr>
            <a:lvl5pPr>
              <a:lnSpc>
                <a:spcPct val="150000"/>
              </a:lnSpc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382710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600700" y="1449894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451399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814916" y="1451399"/>
            <a:ext cx="4834444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2040" y="3556002"/>
            <a:ext cx="4848682" cy="16816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/>
            </a:lvl3pPr>
            <a:lvl4pPr>
              <a:lnSpc>
                <a:spcPct val="100000"/>
              </a:lnSpc>
              <a:spcBef>
                <a:spcPts val="429"/>
              </a:spcBef>
              <a:defRPr sz="1170"/>
            </a:lvl4pPr>
            <a:lvl5pPr>
              <a:lnSpc>
                <a:spcPct val="100000"/>
              </a:lnSpc>
              <a:spcBef>
                <a:spcPts val="429"/>
              </a:spcBef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14916" y="3556002"/>
            <a:ext cx="4834444" cy="1681692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29"/>
              </a:spcBef>
              <a:defRPr sz="1170" kern="1200"/>
            </a:lvl1pPr>
            <a:lvl2pPr>
              <a:lnSpc>
                <a:spcPct val="100000"/>
              </a:lnSpc>
              <a:spcBef>
                <a:spcPts val="429"/>
              </a:spcBef>
              <a:defRPr sz="1170"/>
            </a:lvl2pPr>
            <a:lvl3pPr>
              <a:lnSpc>
                <a:spcPct val="100000"/>
              </a:lnSpc>
              <a:spcBef>
                <a:spcPts val="429"/>
              </a:spcBef>
              <a:defRPr sz="1170" kern="1200"/>
            </a:lvl3pPr>
            <a:lvl4pPr>
              <a:lnSpc>
                <a:spcPct val="100000"/>
              </a:lnSpc>
              <a:spcBef>
                <a:spcPts val="429"/>
              </a:spcBef>
              <a:defRPr sz="1170" kern="1200"/>
            </a:lvl4pPr>
            <a:lvl5pPr>
              <a:lnSpc>
                <a:spcPct val="100000"/>
              </a:lnSpc>
              <a:spcBef>
                <a:spcPts val="429"/>
              </a:spcBef>
              <a:defRPr sz="117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27347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7"/>
            <a:ext cx="10101953" cy="796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246062"/>
            <a:ext cx="10096091" cy="31482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599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64081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00700" y="1449894"/>
            <a:ext cx="0" cy="3805072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540541" y="3348993"/>
            <a:ext cx="10108820" cy="343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2040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53339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794446" y="1845831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795744" y="1455027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52040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553339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794446" y="3863593"/>
            <a:ext cx="4848682" cy="138824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70"/>
            </a:lvl1pPr>
            <a:lvl2pPr>
              <a:lnSpc>
                <a:spcPct val="100000"/>
              </a:lnSpc>
              <a:defRPr sz="1170"/>
            </a:lvl2pPr>
            <a:lvl3pPr>
              <a:lnSpc>
                <a:spcPct val="100000"/>
              </a:lnSpc>
              <a:defRPr sz="1170"/>
            </a:lvl3pPr>
            <a:lvl4pPr>
              <a:lnSpc>
                <a:spcPct val="100000"/>
              </a:lnSpc>
              <a:defRPr sz="1170"/>
            </a:lvl4pPr>
            <a:lvl5pPr>
              <a:lnSpc>
                <a:spcPct val="100000"/>
              </a:lnSpc>
              <a:defRPr sz="117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5795744" y="3472788"/>
            <a:ext cx="4851370" cy="3443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4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8143203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2816" y="1627240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530066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52816" y="2925042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4692142" y="2827868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552816" y="4222843"/>
            <a:ext cx="3731817" cy="892207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692142" y="4125670"/>
            <a:ext cx="5953206" cy="1123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989301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50553" y="1440160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46624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  <a:lvl2pPr>
              <a:lnSpc>
                <a:spcPts val="1917"/>
              </a:lnSpc>
              <a:defRPr sz="1280"/>
            </a:lvl2pPr>
            <a:lvl3pPr>
              <a:lnSpc>
                <a:spcPts val="1917"/>
              </a:lnSpc>
              <a:defRPr sz="1280"/>
            </a:lvl3pPr>
            <a:lvl4pPr>
              <a:lnSpc>
                <a:spcPts val="1917"/>
              </a:lnSpc>
              <a:defRPr sz="1280"/>
            </a:lvl4pPr>
            <a:lvl5pPr>
              <a:lnSpc>
                <a:spcPts val="1917"/>
              </a:lnSpc>
              <a:defRPr sz="12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48476" y="4197343"/>
            <a:ext cx="10101953" cy="11780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869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917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803292" y="1440160"/>
            <a:ext cx="483776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799363" y="2270268"/>
            <a:ext cx="4848148" cy="17622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0"/>
            </a:lvl1pPr>
            <a:lvl2pPr>
              <a:lnSpc>
                <a:spcPts val="1917"/>
              </a:lnSpc>
              <a:defRPr sz="1280"/>
            </a:lvl2pPr>
            <a:lvl3pPr>
              <a:lnSpc>
                <a:spcPts val="1917"/>
              </a:lnSpc>
              <a:defRPr sz="1280"/>
            </a:lvl3pPr>
            <a:lvl4pPr>
              <a:lnSpc>
                <a:spcPts val="1917"/>
              </a:lnSpc>
              <a:defRPr sz="1280"/>
            </a:lvl4pPr>
            <a:lvl5pPr>
              <a:lnSpc>
                <a:spcPts val="1917"/>
              </a:lnSpc>
              <a:defRPr sz="12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21495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8317538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4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4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4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4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4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50982" y="1440160"/>
            <a:ext cx="2317148" cy="737426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5623686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2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2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2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2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2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3087153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5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5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5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5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5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550620" y="2270272"/>
            <a:ext cx="2319040" cy="3113861"/>
          </a:xfrm>
          <a:prstGeom prst="rect">
            <a:avLst/>
          </a:prstGeom>
        </p:spPr>
        <p:txBody>
          <a:bodyPr>
            <a:noAutofit/>
          </a:bodyPr>
          <a:lstStyle>
            <a:lvl1pPr marL="0" indent="-146241">
              <a:lnSpc>
                <a:spcPct val="100000"/>
              </a:lnSpc>
              <a:buClr>
                <a:schemeClr val="accent3"/>
              </a:buClr>
              <a:defRPr sz="956"/>
            </a:lvl1pPr>
            <a:lvl2pPr marL="287814" indent="-145463">
              <a:lnSpc>
                <a:spcPct val="100000"/>
              </a:lnSpc>
              <a:buClr>
                <a:schemeClr val="accent3"/>
              </a:buClr>
              <a:defRPr sz="956"/>
            </a:lvl2pPr>
            <a:lvl3pPr marL="383492" indent="-145463" algn="l">
              <a:lnSpc>
                <a:spcPct val="100000"/>
              </a:lnSpc>
              <a:buClr>
                <a:schemeClr val="accent3"/>
              </a:buClr>
              <a:defRPr sz="956"/>
            </a:lvl3pPr>
            <a:lvl4pPr marL="544513" indent="-145463">
              <a:lnSpc>
                <a:spcPct val="100000"/>
              </a:lnSpc>
              <a:buClr>
                <a:schemeClr val="accent3"/>
              </a:buClr>
              <a:defRPr sz="956"/>
            </a:lvl4pPr>
            <a:lvl5pPr marL="697754" indent="-145463">
              <a:lnSpc>
                <a:spcPct val="100000"/>
              </a:lnSpc>
              <a:buClr>
                <a:schemeClr val="accent3"/>
              </a:buClr>
              <a:defRPr sz="956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3091044" y="1440160"/>
            <a:ext cx="2317148" cy="737426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5620520" y="1440160"/>
            <a:ext cx="2317148" cy="737426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8328484" y="1440160"/>
            <a:ext cx="2317148" cy="737426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7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34512416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1118" y="1392424"/>
            <a:ext cx="10102392" cy="382046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88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541116" y="1756591"/>
            <a:ext cx="10093892" cy="439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990286" y="3571228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541116" y="4973579"/>
            <a:ext cx="10093892" cy="353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 b="1" i="0">
                <a:solidFill>
                  <a:schemeClr val="accent1"/>
                </a:solidFill>
              </a:defRPr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990286" y="4497338"/>
            <a:ext cx="9652554" cy="30945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541116" y="2181983"/>
            <a:ext cx="10093892" cy="12778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2000" tIns="45716" rIns="72000" bIns="45716" numCol="1" anchor="t" anchorCtr="0" compatLnSpc="1"/>
          <a:lstStyle>
            <a:lvl1pPr marL="79343" indent="0">
              <a:buNone/>
              <a:defRPr sz="1280" b="0" baseline="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990286" y="3879684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990286" y="4188140"/>
            <a:ext cx="9652554" cy="319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16" rIns="0" bIns="45716" numCol="1" anchor="t" anchorCtr="0" compatLnSpc="1"/>
          <a:lstStyle>
            <a:lvl1pPr marL="79343" indent="0">
              <a:buNone/>
              <a:defRPr sz="1280"/>
            </a:lvl1pPr>
            <a:lvl2pPr marL="290147" indent="0">
              <a:buNone/>
              <a:defRPr/>
            </a:lvl2pPr>
            <a:lvl3pPr marL="573294" indent="0">
              <a:buNone/>
              <a:defRPr/>
            </a:lvl3pPr>
            <a:lvl4pPr marL="875887" indent="0">
              <a:buNone/>
              <a:defRPr/>
            </a:lvl4pPr>
            <a:lvl5pPr marL="1106138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544079" y="357307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544079" y="387839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544079" y="4187601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544079" y="4497134"/>
            <a:ext cx="357051" cy="325754"/>
          </a:xfrm>
          <a:prstGeom prst="rect">
            <a:avLst/>
          </a:prstGeom>
        </p:spPr>
        <p:txBody>
          <a:bodyPr vert="horz" lIns="72000" rIns="0"/>
          <a:lstStyle>
            <a:lvl1pPr marL="79343" indent="0" algn="l">
              <a:buNone/>
              <a:defRPr sz="128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22715945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porate Visual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708802" y="2630949"/>
            <a:ext cx="7930602" cy="66808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2205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 smtClean="0"/>
              <a:t>Title of Presentation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08808" y="3417254"/>
            <a:ext cx="7930594" cy="51655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70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704397" y="4044374"/>
            <a:ext cx="7924820" cy="316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22342" y="4175245"/>
            <a:ext cx="7917060" cy="47914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722335" y="4696356"/>
            <a:ext cx="7917083" cy="1883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03" b="0" cap="none" spc="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53828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Divider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86025" y="1900564"/>
            <a:ext cx="9451762" cy="7834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715" b="0" i="0" cap="none" spc="110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lvl="0"/>
            <a:r>
              <a:rPr lang="en-GB" noProof="0" smtClean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886034" y="863419"/>
            <a:ext cx="9451766" cy="8187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675"/>
              </a:lnSpc>
              <a:defRPr sz="3063" b="0" i="0" cap="none" spc="61" baseline="0">
                <a:solidFill>
                  <a:srgbClr val="FFFFFF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r>
              <a:rPr lang="en-GB" noProof="0" smtClean="0"/>
              <a:t>Divider Slide</a:t>
            </a:r>
            <a:br>
              <a:rPr lang="en-GB" noProof="0" smtClean="0"/>
            </a:br>
            <a:r>
              <a:rPr lang="en-GB" noProof="0" smtClean="0"/>
              <a:t>Second Line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7659903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60070" y="1470185"/>
            <a:ext cx="10081260" cy="41582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171A08-0EA3-4A23-9B68-CDB27CFE98DF}" type="slidenum">
              <a:rPr lang="zh-CN" altLang="zh-CN"/>
              <a:t>‹#›</a:t>
            </a:fld>
            <a:endParaRPr lang="zh-CN" altLang="zh-CN" sz="2205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29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8" y="2102573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73" tIns="34287" rIns="68573" bIns="34287" numCol="1" anchor="t" anchorCtr="0" compatLnSpc="1"/>
          <a:lstStyle/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6" y="1338006"/>
            <a:ext cx="9854068" cy="722893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buFontTx/>
              <a:buNone/>
              <a:defRPr sz="2450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t>‹#›</a:t>
            </a:fld>
            <a:endParaRPr lang="en-US" dirty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4" y="211487"/>
            <a:ext cx="9871235" cy="832568"/>
          </a:xfrm>
        </p:spPr>
        <p:txBody>
          <a:bodyPr/>
          <a:lstStyle/>
          <a:p>
            <a:r>
              <a:rPr lang="en-US" dirty="0" smtClean="0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148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lIns="68580" tIns="34290" rIns="68580" bIns="34290"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3" y="2994088"/>
            <a:ext cx="5850010" cy="928821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defRPr sz="1715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3" y="4282307"/>
            <a:ext cx="5850010" cy="928821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defRPr sz="1715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lIns="68580" tIns="34290" rIns="68580" bIns="34290"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lIns="68580" tIns="34290" rIns="68580" bIns="34290"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3" y="1604996"/>
            <a:ext cx="5850010" cy="928821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defRPr sz="1715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9149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5" y="2290061"/>
            <a:ext cx="9854563" cy="32221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5" y="1337177"/>
            <a:ext cx="9854563" cy="91821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5600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2450" b="1" i="0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5600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4575895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6" y="1337628"/>
            <a:ext cx="10101953" cy="796713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 marL="0" indent="0">
              <a:buFontTx/>
              <a:buNone/>
              <a:defRPr sz="2205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9" y="2246060"/>
            <a:ext cx="10096091" cy="31482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73" tIns="34287" rIns="68573" bIns="34287" numCol="1" anchor="t" anchorCtr="0" compatLnSpc="1"/>
          <a:lstStyle>
            <a:lvl1pPr>
              <a:defRPr sz="1838"/>
            </a:lvl1pPr>
            <a:lvl2pPr>
              <a:defRPr sz="1838"/>
            </a:lvl2pPr>
            <a:lvl3pPr>
              <a:defRPr sz="1838"/>
            </a:lvl3pPr>
            <a:lvl4pPr>
              <a:defRPr sz="1838"/>
            </a:lvl4pPr>
            <a:lvl5pPr>
              <a:defRPr sz="1838"/>
            </a:lvl5pPr>
          </a:lstStyle>
          <a:p>
            <a:pPr lvl="0"/>
            <a:r>
              <a:rPr lang="en-US"/>
              <a:t>Add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82673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840105" y="1957329"/>
            <a:ext cx="9521190" cy="1350586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680210" y="3570447"/>
            <a:ext cx="7840980" cy="161020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60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0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0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00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60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20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048AD-526C-4A9E-8EFE-53BEDB70F0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33332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770096" y="5839898"/>
            <a:ext cx="2520315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710464" y="5839898"/>
            <a:ext cx="3780473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289859" y="5905788"/>
            <a:ext cx="2520315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60">
                <a:solidFill>
                  <a:srgbClr val="002060"/>
                </a:solidFill>
                <a:latin typeface="华文行楷" panose="02010800040101010101" pitchFamily="2" charset="-122"/>
                <a:ea typeface="华文行楷" panose="02010800040101010101" pitchFamily="2" charset="-122"/>
              </a:defRPr>
            </a:lvl1pPr>
          </a:lstStyle>
          <a:p>
            <a:r>
              <a:rPr lang="zh-CN" altLang="en-US"/>
              <a:t>中国物品编码中心</a:t>
            </a:r>
            <a:endParaRPr lang="zh-CN" altLang="en-US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91141857"/>
      </p:ext>
    </p:extLst>
  </p:cSld>
  <p:clrMapOvr>
    <a:masterClrMapping/>
  </p:clrMapOvr>
  <p:transition spd="med" advClick="0" advTm="0">
    <p:pull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560070" y="5839898"/>
            <a:ext cx="2613660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827145" y="5839898"/>
            <a:ext cx="3547110" cy="335459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027670" y="5839898"/>
            <a:ext cx="2613660" cy="335459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1639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4"/>
            <a:ext cx="9854563" cy="3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8" y="1338007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Main idea, quote, or phrase two lines and under may go in this text box. </a:t>
            </a:r>
            <a:endParaRPr lang="en-GB" noProof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4" y="211488"/>
            <a:ext cx="9871235" cy="832568"/>
          </a:xfrm>
        </p:spPr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04217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677136" y="2102572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77136" y="1338005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zh-CN" altLang="en-US" noProof="0" smtClean="0"/>
              <a:t>单击此处编辑母版文本样式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zh-CN" altLang="en-US" noProof="0" smtClean="0"/>
              <a:t>单击此处编辑母版标题样式</a:t>
            </a:r>
            <a:endParaRPr lang="en-GB" noProof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buNone/>
            </a:pPr>
            <a:fld id="{9A0DB2DC-4C9A-4742-B13C-FB6460FD3503}" type="slidenum">
              <a:rPr lang="en-GB" altLang="zh-CN" dirty="0">
                <a:latin typeface="Verdana" panose="020B0604030504040204" pitchFamily="34" charset="0"/>
                <a:ea typeface="宋体" panose="02010600030101010101" pitchFamily="2" charset="-122"/>
                <a:cs typeface="Verdana" panose="020B0604030504040204" pitchFamily="34" charset="0"/>
              </a:rPr>
              <a:pPr lvl="0">
                <a:buNone/>
              </a:pPr>
              <a:t>‹#›</a:t>
            </a:fld>
            <a:endParaRPr lang="en-GB" altLang="zh-CN" dirty="0">
              <a:latin typeface="Verdana" panose="020B060403050404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95180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4"/>
            <a:ext cx="9854563" cy="3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8" y="1338007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Main idea, quote, or phrase two lines and under may go in this text box. </a:t>
            </a:r>
            <a:endParaRPr lang="en-GB" noProof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4" y="211488"/>
            <a:ext cx="9871235" cy="832568"/>
          </a:xfrm>
        </p:spPr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360865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77136" y="2102574"/>
            <a:ext cx="9854563" cy="3410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Add text here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77138" y="1338007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smtClean="0"/>
              <a:t>Click to edit text. Main idea, quote, or phrase two lines and under may go in this text box. </a:t>
            </a:r>
            <a:endParaRPr lang="en-GB" noProof="0"/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68974" y="211488"/>
            <a:ext cx="9871235" cy="832568"/>
          </a:xfrm>
        </p:spPr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272227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77611" y="1702113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2142" y="2994088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92142" y="4282251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7611" y="3071051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7611" y="4359212"/>
            <a:ext cx="3547110" cy="737426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92142" y="1604939"/>
            <a:ext cx="5850010" cy="9288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86"/>
            </a:lvl1pPr>
          </a:lstStyle>
          <a:p>
            <a:pPr lvl="0"/>
            <a:r>
              <a:rPr lang="en-GB" noProof="0" smtClean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1476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73875"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defTabSz="973875"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1394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677136" y="2102572"/>
            <a:ext cx="9854563" cy="34106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77136" y="1338005"/>
            <a:ext cx="9854068" cy="722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38" b="1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zh-CN" altLang="en-US" noProof="0" smtClean="0"/>
              <a:t>单击此处编辑母版文本样式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668973" y="211487"/>
            <a:ext cx="9871235" cy="832568"/>
          </a:xfrm>
        </p:spPr>
        <p:txBody>
          <a:bodyPr/>
          <a:lstStyle/>
          <a:p>
            <a:r>
              <a:rPr lang="zh-CN" altLang="en-US" noProof="0" smtClean="0"/>
              <a:t>单击此处编辑母版标题样式</a:t>
            </a:r>
            <a:endParaRPr lang="en-GB" noProof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buNone/>
            </a:pPr>
            <a:fld id="{9A0DB2DC-4C9A-4742-B13C-FB6460FD3503}" type="slidenum">
              <a:rPr lang="en-GB" altLang="zh-CN" dirty="0">
                <a:latin typeface="Verdana" panose="020B0604030504040204" pitchFamily="34" charset="0"/>
                <a:ea typeface="宋体" panose="02010600030101010101" pitchFamily="2" charset="-122"/>
                <a:cs typeface="Verdana" panose="020B0604030504040204" pitchFamily="34" charset="0"/>
              </a:rPr>
              <a:pPr lvl="0">
                <a:buNone/>
              </a:pPr>
              <a:t>‹#›</a:t>
            </a:fld>
            <a:endParaRPr lang="en-GB" altLang="zh-CN" dirty="0">
              <a:latin typeface="Verdana" panose="020B060403050404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51836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738237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3" name="矩形 2"/>
          <p:cNvSpPr/>
          <p:nvPr userDrawn="1"/>
        </p:nvSpPr>
        <p:spPr>
          <a:xfrm>
            <a:off x="342900" y="864394"/>
            <a:ext cx="10439400" cy="762000"/>
          </a:xfrm>
          <a:prstGeom prst="rect">
            <a:avLst/>
          </a:prstGeom>
          <a:solidFill>
            <a:schemeClr val="bg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166387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548457" y="1336976"/>
            <a:ext cx="10096091" cy="405730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380"/>
            </a:lvl1pPr>
            <a:lvl2pPr>
              <a:defRPr sz="1380"/>
            </a:lvl2pPr>
            <a:lvl3pPr>
              <a:defRPr sz="1380"/>
            </a:lvl3pPr>
            <a:lvl4pPr>
              <a:defRPr sz="1380"/>
            </a:lvl4pPr>
            <a:lvl5pPr>
              <a:defRPr sz="13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1608281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7" y="1337626"/>
            <a:ext cx="10101953" cy="457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7" y="1904948"/>
            <a:ext cx="10096091" cy="348933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380"/>
            </a:lvl1pPr>
            <a:lvl2pPr>
              <a:defRPr sz="1380"/>
            </a:lvl2pPr>
            <a:lvl3pPr>
              <a:defRPr sz="1380"/>
            </a:lvl3pPr>
            <a:lvl4pPr>
              <a:defRPr sz="1380"/>
            </a:lvl4pPr>
            <a:lvl5pPr>
              <a:defRPr sz="13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490750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7" y="1337628"/>
            <a:ext cx="10101953" cy="796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7" y="2246060"/>
            <a:ext cx="10096091" cy="31482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380"/>
            </a:lvl1pPr>
            <a:lvl2pPr>
              <a:defRPr sz="1380"/>
            </a:lvl2pPr>
            <a:lvl3pPr>
              <a:defRPr sz="1380"/>
            </a:lvl3pPr>
            <a:lvl4pPr>
              <a:defRPr sz="1380"/>
            </a:lvl4pPr>
            <a:lvl5pPr>
              <a:defRPr sz="13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94816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477" y="1337627"/>
            <a:ext cx="10101953" cy="106681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197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 sz="1655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197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548457" y="2520318"/>
            <a:ext cx="10096091" cy="28739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31" tIns="45716" rIns="91431" bIns="45716" numCol="1" anchor="t" anchorCtr="0" compatLnSpc="1"/>
          <a:lstStyle>
            <a:lvl1pPr>
              <a:defRPr sz="1380"/>
            </a:lvl1pPr>
            <a:lvl2pPr>
              <a:defRPr sz="1380"/>
            </a:lvl2pPr>
            <a:lvl3pPr>
              <a:defRPr sz="1380"/>
            </a:lvl3pPr>
            <a:lvl4pPr>
              <a:defRPr sz="1380"/>
            </a:lvl4pPr>
            <a:lvl5pPr>
              <a:defRPr sz="138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5398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7370" y="1337176"/>
            <a:ext cx="4799105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256" y="2051652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5"/>
            </a:lvl1pPr>
            <a:lvl2pPr>
              <a:lnSpc>
                <a:spcPct val="100000"/>
              </a:lnSpc>
              <a:buClr>
                <a:schemeClr val="accent1"/>
              </a:buClr>
              <a:defRPr sz="1195"/>
            </a:lvl2pPr>
            <a:lvl3pPr>
              <a:lnSpc>
                <a:spcPct val="100000"/>
              </a:lnSpc>
              <a:buClr>
                <a:schemeClr val="accent1"/>
              </a:buClr>
              <a:defRPr sz="1195"/>
            </a:lvl3pPr>
            <a:lvl4pPr>
              <a:lnSpc>
                <a:spcPct val="100000"/>
              </a:lnSpc>
              <a:buClr>
                <a:schemeClr val="accent1"/>
              </a:buClr>
              <a:defRPr sz="1195"/>
            </a:lvl4pPr>
            <a:lvl5pPr>
              <a:lnSpc>
                <a:spcPct val="100000"/>
              </a:lnSpc>
              <a:buClr>
                <a:schemeClr val="accent1"/>
              </a:buClr>
              <a:defRPr sz="1195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845731" y="1337176"/>
            <a:ext cx="4799883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847396" y="2051652"/>
            <a:ext cx="4797143" cy="3342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5"/>
            </a:lvl1pPr>
            <a:lvl2pPr>
              <a:lnSpc>
                <a:spcPct val="100000"/>
              </a:lnSpc>
              <a:buClr>
                <a:schemeClr val="accent1"/>
              </a:buClr>
              <a:defRPr sz="1195"/>
            </a:lvl2pPr>
            <a:lvl3pPr>
              <a:lnSpc>
                <a:spcPct val="100000"/>
              </a:lnSpc>
              <a:buClr>
                <a:schemeClr val="accent1"/>
              </a:buClr>
              <a:defRPr sz="1195"/>
            </a:lvl3pPr>
            <a:lvl4pPr>
              <a:lnSpc>
                <a:spcPct val="100000"/>
              </a:lnSpc>
              <a:buClr>
                <a:schemeClr val="accent1"/>
              </a:buClr>
              <a:defRPr sz="1195"/>
            </a:lvl4pPr>
            <a:lvl5pPr>
              <a:lnSpc>
                <a:spcPct val="100000"/>
              </a:lnSpc>
              <a:buClr>
                <a:schemeClr val="accent1"/>
              </a:buClr>
              <a:defRPr sz="1195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10348170" y="5830549"/>
            <a:ext cx="303231" cy="183989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500527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48477" y="1337176"/>
            <a:ext cx="3076420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8478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010"/>
            </a:lvl1pPr>
            <a:lvl2pPr>
              <a:lnSpc>
                <a:spcPct val="100000"/>
              </a:lnSpc>
              <a:buClr>
                <a:schemeClr val="accent1"/>
              </a:buClr>
              <a:defRPr sz="1010"/>
            </a:lvl2pPr>
            <a:lvl3pPr>
              <a:lnSpc>
                <a:spcPct val="100000"/>
              </a:lnSpc>
              <a:buClr>
                <a:schemeClr val="accent1"/>
              </a:buClr>
              <a:defRPr sz="1010"/>
            </a:lvl3pPr>
            <a:lvl4pPr>
              <a:lnSpc>
                <a:spcPct val="100000"/>
              </a:lnSpc>
              <a:buClr>
                <a:schemeClr val="accent1"/>
              </a:buClr>
              <a:defRPr sz="1010"/>
            </a:lvl4pPr>
            <a:lvl5pPr>
              <a:lnSpc>
                <a:spcPct val="100000"/>
              </a:lnSpc>
              <a:buClr>
                <a:schemeClr val="accent1"/>
              </a:buClr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08818" y="1337176"/>
            <a:ext cx="3076420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009277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010"/>
            </a:lvl1pPr>
            <a:lvl2pPr>
              <a:lnSpc>
                <a:spcPct val="100000"/>
              </a:lnSpc>
              <a:buClr>
                <a:schemeClr val="accent1"/>
              </a:buClr>
              <a:defRPr sz="1010"/>
            </a:lvl2pPr>
            <a:lvl3pPr>
              <a:lnSpc>
                <a:spcPct val="100000"/>
              </a:lnSpc>
              <a:buClr>
                <a:schemeClr val="accent1"/>
              </a:buClr>
              <a:defRPr sz="1010"/>
            </a:lvl3pPr>
            <a:lvl4pPr>
              <a:lnSpc>
                <a:spcPct val="100000"/>
              </a:lnSpc>
              <a:buClr>
                <a:schemeClr val="accent1"/>
              </a:buClr>
              <a:defRPr sz="1010"/>
            </a:lvl4pPr>
            <a:lvl5pPr>
              <a:lnSpc>
                <a:spcPct val="100000"/>
              </a:lnSpc>
              <a:buClr>
                <a:schemeClr val="accent1"/>
              </a:buClr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7567654" y="1337176"/>
            <a:ext cx="3076420" cy="6776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8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568112" y="2064761"/>
            <a:ext cx="3075506" cy="333092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010"/>
            </a:lvl1pPr>
            <a:lvl2pPr>
              <a:lnSpc>
                <a:spcPct val="100000"/>
              </a:lnSpc>
              <a:buClr>
                <a:schemeClr val="accent1"/>
              </a:buClr>
              <a:defRPr sz="1010"/>
            </a:lvl2pPr>
            <a:lvl3pPr>
              <a:lnSpc>
                <a:spcPct val="100000"/>
              </a:lnSpc>
              <a:buClr>
                <a:schemeClr val="accent1"/>
              </a:buClr>
              <a:defRPr sz="1010"/>
            </a:lvl3pPr>
            <a:lvl4pPr>
              <a:lnSpc>
                <a:spcPct val="100000"/>
              </a:lnSpc>
              <a:buClr>
                <a:schemeClr val="accent1"/>
              </a:buClr>
              <a:defRPr sz="1010"/>
            </a:lvl4pPr>
            <a:lvl5pPr>
              <a:lnSpc>
                <a:spcPct val="100000"/>
              </a:lnSpc>
              <a:buClr>
                <a:schemeClr val="accent1"/>
              </a:buClr>
              <a:defRPr sz="101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248105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5"/>
            </a:lvl1pPr>
            <a:lvl2pPr>
              <a:lnSpc>
                <a:spcPct val="100000"/>
              </a:lnSpc>
              <a:buClr>
                <a:schemeClr val="accent1"/>
              </a:buClr>
              <a:defRPr sz="1195"/>
            </a:lvl2pPr>
            <a:lvl3pPr>
              <a:lnSpc>
                <a:spcPct val="100000"/>
              </a:lnSpc>
              <a:buClr>
                <a:schemeClr val="accent1"/>
              </a:buClr>
              <a:defRPr sz="1195"/>
            </a:lvl3pPr>
            <a:lvl4pPr>
              <a:lnSpc>
                <a:spcPct val="100000"/>
              </a:lnSpc>
              <a:buClr>
                <a:schemeClr val="accent1"/>
              </a:buClr>
              <a:defRPr sz="1195"/>
            </a:lvl4pPr>
            <a:lvl5pPr>
              <a:lnSpc>
                <a:spcPct val="100000"/>
              </a:lnSpc>
              <a:buClr>
                <a:schemeClr val="accent1"/>
              </a:buClr>
              <a:defRPr sz="1195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0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2" y="1508219"/>
            <a:ext cx="4768007" cy="3735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5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233813674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665637" y="1509570"/>
            <a:ext cx="4978139" cy="6695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55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667295" y="2222671"/>
            <a:ext cx="4973140" cy="30247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95"/>
            </a:lvl1pPr>
            <a:lvl2pPr>
              <a:lnSpc>
                <a:spcPct val="100000"/>
              </a:lnSpc>
              <a:buClr>
                <a:schemeClr val="accent1"/>
              </a:buClr>
              <a:defRPr sz="1195"/>
            </a:lvl2pPr>
            <a:lvl3pPr>
              <a:lnSpc>
                <a:spcPct val="100000"/>
              </a:lnSpc>
              <a:buClr>
                <a:schemeClr val="accent1"/>
              </a:buClr>
              <a:defRPr sz="1195"/>
            </a:lvl3pPr>
            <a:lvl4pPr>
              <a:lnSpc>
                <a:spcPct val="100000"/>
              </a:lnSpc>
              <a:buClr>
                <a:schemeClr val="accent1"/>
              </a:buClr>
              <a:defRPr sz="1195"/>
            </a:lvl4pPr>
            <a:lvl5pPr>
              <a:lnSpc>
                <a:spcPct val="100000"/>
              </a:lnSpc>
              <a:buClr>
                <a:schemeClr val="accent1"/>
              </a:buClr>
              <a:defRPr sz="1195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8402" y="1508221"/>
            <a:ext cx="4768007" cy="276726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285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48402" y="4271395"/>
            <a:ext cx="4766043" cy="984023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2283" tIns="85984" rIns="132283" bIns="132283" rtlCol="0" anchor="t" anchorCtr="0"/>
          <a:lstStyle/>
          <a:p>
            <a:pPr marL="0" marR="0" indent="0" algn="l" defTabSz="84010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GB" sz="825" b="0" i="1" noProof="0" dirty="0">
              <a:solidFill>
                <a:schemeClr val="bg1"/>
              </a:solidFill>
            </a:endParaRPr>
          </a:p>
          <a:p>
            <a:pPr marL="0" marR="0" indent="0" algn="l" defTabSz="84010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GB" sz="825" b="0" i="1" noProof="0" dirty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825" b="0" i="1" noProof="0" dirty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53415" y="4385820"/>
            <a:ext cx="4573905" cy="746760"/>
          </a:xfrm>
          <a:prstGeom prst="rect">
            <a:avLst/>
          </a:prstGeom>
        </p:spPr>
        <p:txBody>
          <a:bodyPr vert="horz" lIns="0" tIns="0" rIns="0" bIns="0"/>
          <a:lstStyle>
            <a:lvl1pPr marL="67945" marR="0" indent="0" algn="l" defTabSz="419735" rtl="0" eaLnBrk="1" fontAlgn="base" latinLnBrk="0" hangingPunct="1">
              <a:lnSpc>
                <a:spcPct val="110000"/>
              </a:lnSpc>
              <a:spcBef>
                <a:spcPts val="365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825" b="0" i="1" baseline="0">
                <a:solidFill>
                  <a:schemeClr val="bg1"/>
                </a:solidFill>
              </a:defRPr>
            </a:lvl1pPr>
            <a:lvl2pPr>
              <a:defRPr sz="1010" b="0" i="1">
                <a:solidFill>
                  <a:schemeClr val="bg1"/>
                </a:solidFill>
              </a:defRPr>
            </a:lvl2pPr>
            <a:lvl3pPr>
              <a:defRPr sz="1010" b="0" i="1">
                <a:solidFill>
                  <a:schemeClr val="bg1"/>
                </a:solidFill>
              </a:defRPr>
            </a:lvl3pPr>
            <a:lvl4pPr>
              <a:defRPr sz="1010" b="0" i="1">
                <a:solidFill>
                  <a:schemeClr val="bg1"/>
                </a:solidFill>
              </a:defRPr>
            </a:lvl4pPr>
            <a:lvl5pPr>
              <a:defRPr sz="1010" b="0" i="1">
                <a:solidFill>
                  <a:schemeClr val="bg1"/>
                </a:solidFill>
              </a:defRPr>
            </a:lvl5pPr>
          </a:lstStyle>
          <a:p>
            <a:pPr marL="67945" marR="0" lvl="0" indent="0" algn="l" defTabSz="419735" rtl="0" eaLnBrk="1" fontAlgn="base" latinLnBrk="0" hangingPunct="1">
              <a:lnSpc>
                <a:spcPct val="110000"/>
              </a:lnSpc>
              <a:spcBef>
                <a:spcPts val="365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/>
            </a:pPr>
            <a:r>
              <a:rPr lang="en-GB" sz="1010" b="0" i="1" noProof="0" dirty="0">
                <a:solidFill>
                  <a:schemeClr val="bg1"/>
                </a:solidFill>
              </a:rPr>
              <a:t>Caption or</a:t>
            </a:r>
            <a:r>
              <a:rPr lang="en-GB" sz="1010" b="0" i="1" baseline="0" noProof="0" dirty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010" b="0" i="1" noProof="0" dirty="0">
                <a:solidFill>
                  <a:schemeClr val="bg1"/>
                </a:solidFill>
              </a:rPr>
              <a:t>You may adjust the height of this box</a:t>
            </a:r>
            <a:r>
              <a:rPr lang="en-GB" sz="1010" b="0" i="1" baseline="0" noProof="0" dirty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010" b="0" i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749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image" Target="../media/image8.pn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image" Target="../media/image7.png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4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image" Target="../media/image8.png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image" Target="../media/image16.png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image" Target="../media/image7.pn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image" Target="../media/image9.png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image" Target="../media/image8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image" Target="../media/image17.png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29" Type="http://schemas.openxmlformats.org/officeDocument/2006/relationships/image" Target="../media/image17.png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26" Type="http://schemas.openxmlformats.org/officeDocument/2006/relationships/slideLayout" Target="../slideLayouts/slideLayout194.xml"/><Relationship Id="rId39" Type="http://schemas.openxmlformats.org/officeDocument/2006/relationships/slideLayout" Target="../slideLayouts/slideLayout207.xml"/><Relationship Id="rId21" Type="http://schemas.openxmlformats.org/officeDocument/2006/relationships/slideLayout" Target="../slideLayouts/slideLayout189.xml"/><Relationship Id="rId34" Type="http://schemas.openxmlformats.org/officeDocument/2006/relationships/slideLayout" Target="../slideLayouts/slideLayout202.xml"/><Relationship Id="rId42" Type="http://schemas.openxmlformats.org/officeDocument/2006/relationships/slideLayout" Target="../slideLayouts/slideLayout210.xml"/><Relationship Id="rId47" Type="http://schemas.openxmlformats.org/officeDocument/2006/relationships/slideLayout" Target="../slideLayouts/slideLayout215.xml"/><Relationship Id="rId50" Type="http://schemas.openxmlformats.org/officeDocument/2006/relationships/slideLayout" Target="../slideLayouts/slideLayout218.xml"/><Relationship Id="rId55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29" Type="http://schemas.openxmlformats.org/officeDocument/2006/relationships/slideLayout" Target="../slideLayouts/slideLayout197.xml"/><Relationship Id="rId41" Type="http://schemas.openxmlformats.org/officeDocument/2006/relationships/slideLayout" Target="../slideLayouts/slideLayout209.xml"/><Relationship Id="rId54" Type="http://schemas.openxmlformats.org/officeDocument/2006/relationships/slideLayout" Target="../slideLayouts/slideLayout222.xml"/><Relationship Id="rId62" Type="http://schemas.openxmlformats.org/officeDocument/2006/relationships/image" Target="../media/image9.png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slideLayout" Target="../slideLayouts/slideLayout192.xml"/><Relationship Id="rId32" Type="http://schemas.openxmlformats.org/officeDocument/2006/relationships/slideLayout" Target="../slideLayouts/slideLayout200.xml"/><Relationship Id="rId37" Type="http://schemas.openxmlformats.org/officeDocument/2006/relationships/slideLayout" Target="../slideLayouts/slideLayout205.xml"/><Relationship Id="rId40" Type="http://schemas.openxmlformats.org/officeDocument/2006/relationships/slideLayout" Target="../slideLayouts/slideLayout208.xml"/><Relationship Id="rId45" Type="http://schemas.openxmlformats.org/officeDocument/2006/relationships/slideLayout" Target="../slideLayouts/slideLayout213.xml"/><Relationship Id="rId53" Type="http://schemas.openxmlformats.org/officeDocument/2006/relationships/slideLayout" Target="../slideLayouts/slideLayout221.xml"/><Relationship Id="rId58" Type="http://schemas.openxmlformats.org/officeDocument/2006/relationships/slideLayout" Target="../slideLayouts/slideLayout226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28" Type="http://schemas.openxmlformats.org/officeDocument/2006/relationships/slideLayout" Target="../slideLayouts/slideLayout196.xml"/><Relationship Id="rId36" Type="http://schemas.openxmlformats.org/officeDocument/2006/relationships/slideLayout" Target="../slideLayouts/slideLayout204.xml"/><Relationship Id="rId49" Type="http://schemas.openxmlformats.org/officeDocument/2006/relationships/slideLayout" Target="../slideLayouts/slideLayout217.xml"/><Relationship Id="rId57" Type="http://schemas.openxmlformats.org/officeDocument/2006/relationships/slideLayout" Target="../slideLayouts/slideLayout225.xml"/><Relationship Id="rId61" Type="http://schemas.openxmlformats.org/officeDocument/2006/relationships/image" Target="../media/image8.png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31" Type="http://schemas.openxmlformats.org/officeDocument/2006/relationships/slideLayout" Target="../slideLayouts/slideLayout199.xml"/><Relationship Id="rId44" Type="http://schemas.openxmlformats.org/officeDocument/2006/relationships/slideLayout" Target="../slideLayouts/slideLayout212.xml"/><Relationship Id="rId52" Type="http://schemas.openxmlformats.org/officeDocument/2006/relationships/slideLayout" Target="../slideLayouts/slideLayout220.xml"/><Relationship Id="rId60" Type="http://schemas.openxmlformats.org/officeDocument/2006/relationships/image" Target="../media/image7.png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Relationship Id="rId27" Type="http://schemas.openxmlformats.org/officeDocument/2006/relationships/slideLayout" Target="../slideLayouts/slideLayout195.xml"/><Relationship Id="rId30" Type="http://schemas.openxmlformats.org/officeDocument/2006/relationships/slideLayout" Target="../slideLayouts/slideLayout198.xml"/><Relationship Id="rId35" Type="http://schemas.openxmlformats.org/officeDocument/2006/relationships/slideLayout" Target="../slideLayouts/slideLayout203.xml"/><Relationship Id="rId43" Type="http://schemas.openxmlformats.org/officeDocument/2006/relationships/slideLayout" Target="../slideLayouts/slideLayout211.xml"/><Relationship Id="rId48" Type="http://schemas.openxmlformats.org/officeDocument/2006/relationships/slideLayout" Target="../slideLayouts/slideLayout216.xml"/><Relationship Id="rId56" Type="http://schemas.openxmlformats.org/officeDocument/2006/relationships/slideLayout" Target="../slideLayouts/slideLayout224.xml"/><Relationship Id="rId8" Type="http://schemas.openxmlformats.org/officeDocument/2006/relationships/slideLayout" Target="../slideLayouts/slideLayout176.xml"/><Relationship Id="rId51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slideLayout" Target="../slideLayouts/slideLayout193.xml"/><Relationship Id="rId33" Type="http://schemas.openxmlformats.org/officeDocument/2006/relationships/slideLayout" Target="../slideLayouts/slideLayout201.xml"/><Relationship Id="rId38" Type="http://schemas.openxmlformats.org/officeDocument/2006/relationships/slideLayout" Target="../slideLayouts/slideLayout206.xml"/><Relationship Id="rId46" Type="http://schemas.openxmlformats.org/officeDocument/2006/relationships/slideLayout" Target="../slideLayouts/slideLayout214.xml"/><Relationship Id="rId5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slideLayout" Target="../slideLayouts/slideLayout244.xml"/><Relationship Id="rId26" Type="http://schemas.openxmlformats.org/officeDocument/2006/relationships/slideLayout" Target="../slideLayouts/slideLayout252.xml"/><Relationship Id="rId3" Type="http://schemas.openxmlformats.org/officeDocument/2006/relationships/slideLayout" Target="../slideLayouts/slideLayout229.xml"/><Relationship Id="rId21" Type="http://schemas.openxmlformats.org/officeDocument/2006/relationships/slideLayout" Target="../slideLayouts/slideLayout247.xml"/><Relationship Id="rId34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slideLayout" Target="../slideLayouts/slideLayout243.xml"/><Relationship Id="rId25" Type="http://schemas.openxmlformats.org/officeDocument/2006/relationships/slideLayout" Target="../slideLayouts/slideLayout251.xml"/><Relationship Id="rId33" Type="http://schemas.openxmlformats.org/officeDocument/2006/relationships/slideLayout" Target="../slideLayouts/slideLayout259.xml"/><Relationship Id="rId38" Type="http://schemas.openxmlformats.org/officeDocument/2006/relationships/image" Target="../media/image8.png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slideLayout" Target="../slideLayouts/slideLayout246.xml"/><Relationship Id="rId29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24" Type="http://schemas.openxmlformats.org/officeDocument/2006/relationships/slideLayout" Target="../slideLayouts/slideLayout250.xml"/><Relationship Id="rId32" Type="http://schemas.openxmlformats.org/officeDocument/2006/relationships/slideLayout" Target="../slideLayouts/slideLayout258.xml"/><Relationship Id="rId37" Type="http://schemas.openxmlformats.org/officeDocument/2006/relationships/image" Target="../media/image16.png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23" Type="http://schemas.openxmlformats.org/officeDocument/2006/relationships/slideLayout" Target="../slideLayouts/slideLayout249.xml"/><Relationship Id="rId28" Type="http://schemas.openxmlformats.org/officeDocument/2006/relationships/slideLayout" Target="../slideLayouts/slideLayout254.xml"/><Relationship Id="rId36" Type="http://schemas.openxmlformats.org/officeDocument/2006/relationships/theme" Target="../theme/theme9.xml"/><Relationship Id="rId10" Type="http://schemas.openxmlformats.org/officeDocument/2006/relationships/slideLayout" Target="../slideLayouts/slideLayout236.xml"/><Relationship Id="rId19" Type="http://schemas.openxmlformats.org/officeDocument/2006/relationships/slideLayout" Target="../slideLayouts/slideLayout245.xml"/><Relationship Id="rId31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Relationship Id="rId22" Type="http://schemas.openxmlformats.org/officeDocument/2006/relationships/slideLayout" Target="../slideLayouts/slideLayout248.xml"/><Relationship Id="rId27" Type="http://schemas.openxmlformats.org/officeDocument/2006/relationships/slideLayout" Target="../slideLayouts/slideLayout253.xml"/><Relationship Id="rId30" Type="http://schemas.openxmlformats.org/officeDocument/2006/relationships/slideLayout" Target="../slideLayouts/slideLayout256.xml"/><Relationship Id="rId35" Type="http://schemas.openxmlformats.org/officeDocument/2006/relationships/slideLayout" Target="../slideLayouts/slideLayout2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45" y="483394"/>
            <a:ext cx="3071999" cy="900000"/>
          </a:xfrm>
          <a:prstGeom prst="rect">
            <a:avLst/>
          </a:prstGeom>
        </p:spPr>
      </p:pic>
      <p:pic>
        <p:nvPicPr>
          <p:cNvPr id="9" name="Picture 8" descr="14GSGL0011_D08_PPT_Cover_Global-Language-of-Business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352" y="1092995"/>
            <a:ext cx="3284913" cy="193907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45" y="5529911"/>
            <a:ext cx="2539661" cy="357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010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51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19984" rtl="0" eaLnBrk="1" latinLnBrk="0" hangingPunct="1">
        <a:spcBef>
          <a:spcPct val="0"/>
        </a:spcBef>
        <a:buNone/>
        <a:defRPr sz="404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988" indent="-314988" algn="l" defTabSz="419984" rtl="0" eaLnBrk="1" latinLnBrk="0" hangingPunct="1">
        <a:spcBef>
          <a:spcPct val="20000"/>
        </a:spcBef>
        <a:buFont typeface="Arial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1pPr>
      <a:lvl2pPr marL="682474" indent="-262490" algn="l" defTabSz="419984" rtl="0" eaLnBrk="1" latinLnBrk="0" hangingPunct="1">
        <a:spcBef>
          <a:spcPct val="20000"/>
        </a:spcBef>
        <a:buFont typeface="Arial"/>
        <a:buChar char="–"/>
        <a:defRPr sz="2572" kern="1200">
          <a:solidFill>
            <a:schemeClr val="tx1"/>
          </a:solidFill>
          <a:latin typeface="+mn-lt"/>
          <a:ea typeface="+mn-ea"/>
          <a:cs typeface="+mn-cs"/>
        </a:defRPr>
      </a:lvl2pPr>
      <a:lvl3pPr marL="1049960" indent="-209992" algn="l" defTabSz="419984" rtl="0" eaLnBrk="1" latinLnBrk="0" hangingPunct="1">
        <a:spcBef>
          <a:spcPct val="20000"/>
        </a:spcBef>
        <a:buFont typeface="Arial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469944" indent="-209992" algn="l" defTabSz="419984" rtl="0" eaLnBrk="1" latinLnBrk="0" hangingPunct="1">
        <a:spcBef>
          <a:spcPct val="20000"/>
        </a:spcBef>
        <a:buFont typeface="Arial"/>
        <a:buChar char="–"/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89928" indent="-209992" algn="l" defTabSz="419984" rtl="0" eaLnBrk="1" latinLnBrk="0" hangingPunct="1">
        <a:spcBef>
          <a:spcPct val="20000"/>
        </a:spcBef>
        <a:buFont typeface="Arial"/>
        <a:buChar char="»"/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09912" indent="-209992" algn="l" defTabSz="419984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5" indent="-209992" algn="l" defTabSz="419984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149879" indent="-209992" algn="l" defTabSz="419984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569863" indent="-209992" algn="l" defTabSz="419984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1pPr>
      <a:lvl2pPr marL="419984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2pPr>
      <a:lvl3pPr marL="839968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259952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679936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099920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6pPr>
      <a:lvl7pPr marL="2519904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7pPr>
      <a:lvl8pPr marL="2939887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8pPr>
      <a:lvl9pPr marL="3359871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8162" y="211488"/>
            <a:ext cx="10098829" cy="83256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8260686" y="5855949"/>
            <a:ext cx="1399993" cy="24752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19" noProof="0" dirty="0" smtClean="0">
                <a:solidFill>
                  <a:srgbClr val="454545"/>
                </a:solidFill>
              </a:rPr>
              <a:t>© GS1</a:t>
            </a:r>
            <a:r>
              <a:rPr lang="en-GB" sz="919" baseline="0" noProof="0" dirty="0" smtClean="0">
                <a:solidFill>
                  <a:srgbClr val="454545"/>
                </a:solidFill>
              </a:rPr>
              <a:t> </a:t>
            </a:r>
            <a:r>
              <a:rPr lang="en-GB" sz="919" noProof="0" dirty="0" smtClean="0">
                <a:solidFill>
                  <a:srgbClr val="454545"/>
                </a:solidFill>
              </a:rPr>
              <a:t>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535" y="5742313"/>
            <a:ext cx="1313474" cy="386560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19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723" y="5770221"/>
            <a:ext cx="2099065" cy="295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644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8" r:id="rId2"/>
    <p:sldLayoutId id="2147483855" r:id="rId3"/>
    <p:sldLayoutId id="2147483812" r:id="rId4"/>
    <p:sldLayoutId id="2147483813" r:id="rId5"/>
    <p:sldLayoutId id="2147483856" r:id="rId6"/>
    <p:sldLayoutId id="2147483857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9" r:id="rId16"/>
    <p:sldLayoutId id="2147483824" r:id="rId17"/>
    <p:sldLayoutId id="2147483826" r:id="rId18"/>
    <p:sldLayoutId id="2147483827" r:id="rId19"/>
    <p:sldLayoutId id="2147483828" r:id="rId20"/>
    <p:sldLayoutId id="2147483858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70" r:id="rId27"/>
    <p:sldLayoutId id="2147483873" r:id="rId28"/>
    <p:sldLayoutId id="2147483887" r:id="rId29"/>
    <p:sldLayoutId id="2147483891" r:id="rId30"/>
    <p:sldLayoutId id="2147484076" r:id="rId3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19943" rtl="0" eaLnBrk="1" fontAlgn="base" hangingPunct="1">
        <a:spcBef>
          <a:spcPct val="0"/>
        </a:spcBef>
        <a:spcAft>
          <a:spcPct val="0"/>
        </a:spcAft>
        <a:defRPr sz="3200" b="1" kern="1200" cap="none" spc="0">
          <a:solidFill>
            <a:schemeClr val="tx2"/>
          </a:solidFill>
          <a:latin typeface="+mn-lt"/>
          <a:ea typeface="+mj-ea"/>
          <a:cs typeface="Verdana"/>
        </a:defRPr>
      </a:lvl1pPr>
      <a:lvl2pPr algn="l" defTabSz="419943" rtl="0" eaLnBrk="1" fontAlgn="base" hangingPunct="1">
        <a:spcBef>
          <a:spcPct val="0"/>
        </a:spcBef>
        <a:spcAft>
          <a:spcPct val="0"/>
        </a:spcAft>
        <a:defRPr sz="2205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19943" rtl="0" eaLnBrk="1" fontAlgn="base" hangingPunct="1">
        <a:spcBef>
          <a:spcPct val="0"/>
        </a:spcBef>
        <a:spcAft>
          <a:spcPct val="0"/>
        </a:spcAft>
        <a:defRPr sz="2205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19943" rtl="0" eaLnBrk="1" fontAlgn="base" hangingPunct="1">
        <a:spcBef>
          <a:spcPct val="0"/>
        </a:spcBef>
        <a:spcAft>
          <a:spcPct val="0"/>
        </a:spcAft>
        <a:defRPr sz="2205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19943" rtl="0" eaLnBrk="1" fontAlgn="base" hangingPunct="1">
        <a:spcBef>
          <a:spcPct val="0"/>
        </a:spcBef>
        <a:spcAft>
          <a:spcPct val="0"/>
        </a:spcAft>
        <a:defRPr sz="2205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19943" algn="l" defTabSz="419943" rtl="0" eaLnBrk="1" fontAlgn="base" hangingPunct="1">
        <a:spcBef>
          <a:spcPct val="0"/>
        </a:spcBef>
        <a:spcAft>
          <a:spcPct val="0"/>
        </a:spcAft>
        <a:defRPr sz="2388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839885" algn="l" defTabSz="419943" rtl="0" eaLnBrk="1" fontAlgn="base" hangingPunct="1">
        <a:spcBef>
          <a:spcPct val="0"/>
        </a:spcBef>
        <a:spcAft>
          <a:spcPct val="0"/>
        </a:spcAft>
        <a:defRPr sz="2388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259829" algn="l" defTabSz="419943" rtl="0" eaLnBrk="1" fontAlgn="base" hangingPunct="1">
        <a:spcBef>
          <a:spcPct val="0"/>
        </a:spcBef>
        <a:spcAft>
          <a:spcPct val="0"/>
        </a:spcAft>
        <a:defRPr sz="2388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679772" algn="l" defTabSz="419943" rtl="0" eaLnBrk="1" fontAlgn="base" hangingPunct="1">
        <a:spcBef>
          <a:spcPct val="0"/>
        </a:spcBef>
        <a:spcAft>
          <a:spcPct val="0"/>
        </a:spcAft>
        <a:defRPr sz="2388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30696" marR="0" indent="-262490" algn="l" defTabSz="419943" rtl="0" eaLnBrk="1" fontAlgn="base" latinLnBrk="0" hangingPunct="1">
        <a:lnSpc>
          <a:spcPct val="110000"/>
        </a:lnSpc>
        <a:spcBef>
          <a:spcPts val="367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562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12579" marR="0" indent="-262490" algn="l" defTabSz="419943" rtl="0" eaLnBrk="1" fontAlgn="base" latinLnBrk="0" hangingPunct="1">
        <a:lnSpc>
          <a:spcPct val="110000"/>
        </a:lnSpc>
        <a:spcBef>
          <a:spcPts val="367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562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757294" indent="-262490" algn="l" defTabSz="419943" rtl="0" eaLnBrk="1" fontAlgn="base" hangingPunct="1">
        <a:lnSpc>
          <a:spcPct val="110000"/>
        </a:lnSpc>
        <a:spcBef>
          <a:spcPts val="367"/>
        </a:spcBef>
        <a:spcAft>
          <a:spcPct val="0"/>
        </a:spcAft>
        <a:buClr>
          <a:schemeClr val="accent1"/>
        </a:buClr>
        <a:buFont typeface="Arial"/>
        <a:buChar char="•"/>
        <a:defRPr sz="1562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965632" indent="-209972" algn="l" defTabSz="419943" rtl="0" eaLnBrk="1" fontAlgn="base" hangingPunct="1">
        <a:lnSpc>
          <a:spcPct val="110000"/>
        </a:lnSpc>
        <a:spcBef>
          <a:spcPts val="367"/>
        </a:spcBef>
        <a:spcAft>
          <a:spcPct val="0"/>
        </a:spcAft>
        <a:buClr>
          <a:schemeClr val="accent1"/>
        </a:buClr>
        <a:buFont typeface="Lucida Grande"/>
        <a:buChar char="­"/>
        <a:defRPr sz="1562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164050" indent="-209972" algn="l" defTabSz="419943" rtl="0" eaLnBrk="1" fontAlgn="base" hangingPunct="1">
        <a:lnSpc>
          <a:spcPct val="110000"/>
        </a:lnSpc>
        <a:spcBef>
          <a:spcPts val="367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562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309686" indent="-209972" algn="l" defTabSz="419943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29628" indent="-209972" algn="l" defTabSz="419943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149572" indent="-209972" algn="l" defTabSz="419943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569515" indent="-209972" algn="l" defTabSz="419943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994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1pPr>
      <a:lvl2pPr marL="419943" algn="l" defTabSz="41994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2pPr>
      <a:lvl3pPr marL="839885" algn="l" defTabSz="41994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259829" algn="l" defTabSz="41994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679772" algn="l" defTabSz="41994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099715" algn="l" defTabSz="41994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6pPr>
      <a:lvl7pPr marL="2519657" algn="l" defTabSz="41994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7pPr>
      <a:lvl8pPr marL="2939600" algn="l" defTabSz="41994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8pPr>
      <a:lvl9pPr marL="3359543" algn="l" defTabSz="41994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9"/>
          <p:cNvSpPr txBox="1">
            <a:spLocks/>
          </p:cNvSpPr>
          <p:nvPr userDrawn="1"/>
        </p:nvSpPr>
        <p:spPr>
          <a:xfrm>
            <a:off x="8260686" y="5855949"/>
            <a:ext cx="1399993" cy="24752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19" noProof="0" dirty="0" smtClean="0">
                <a:solidFill>
                  <a:srgbClr val="454545"/>
                </a:solidFill>
              </a:rPr>
              <a:t>© GS1</a:t>
            </a:r>
            <a:r>
              <a:rPr lang="en-GB" sz="919" baseline="0" noProof="0" dirty="0" smtClean="0">
                <a:solidFill>
                  <a:srgbClr val="454545"/>
                </a:solidFill>
              </a:rPr>
              <a:t> </a:t>
            </a:r>
            <a:r>
              <a:rPr lang="en-GB" sz="919" noProof="0" dirty="0" smtClean="0">
                <a:solidFill>
                  <a:srgbClr val="454545"/>
                </a:solidFill>
              </a:rPr>
              <a:t>2023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535" y="5742313"/>
            <a:ext cx="1313474" cy="386560"/>
          </a:xfrm>
          <a:prstGeom prst="rect">
            <a:avLst/>
          </a:prstGeom>
        </p:spPr>
      </p:pic>
      <p:sp>
        <p:nvSpPr>
          <p:cNvPr id="11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19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723" y="5770221"/>
            <a:ext cx="2099065" cy="295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02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7" r:id="rId2"/>
    <p:sldLayoutId id="2147483793" r:id="rId3"/>
    <p:sldLayoutId id="2147483796" r:id="rId4"/>
    <p:sldLayoutId id="2147483794" r:id="rId5"/>
    <p:sldLayoutId id="2147483797" r:id="rId6"/>
    <p:sldLayoutId id="2147483860" r:id="rId7"/>
    <p:sldLayoutId id="2147483872" r:id="rId8"/>
    <p:sldLayoutId id="2147483859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19984" rtl="0" eaLnBrk="1" latinLnBrk="0" hangingPunct="1">
        <a:spcBef>
          <a:spcPct val="0"/>
        </a:spcBef>
        <a:buNone/>
        <a:defRPr sz="404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988" indent="-314988" algn="l" defTabSz="419984" rtl="0" eaLnBrk="1" latinLnBrk="0" hangingPunct="1">
        <a:spcBef>
          <a:spcPct val="20000"/>
        </a:spcBef>
        <a:buFont typeface="Arial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1pPr>
      <a:lvl2pPr marL="682474" indent="-262490" algn="l" defTabSz="419984" rtl="0" eaLnBrk="1" latinLnBrk="0" hangingPunct="1">
        <a:spcBef>
          <a:spcPct val="20000"/>
        </a:spcBef>
        <a:buFont typeface="Arial"/>
        <a:buChar char="–"/>
        <a:defRPr sz="2572" kern="1200">
          <a:solidFill>
            <a:schemeClr val="tx1"/>
          </a:solidFill>
          <a:latin typeface="+mn-lt"/>
          <a:ea typeface="+mn-ea"/>
          <a:cs typeface="+mn-cs"/>
        </a:defRPr>
      </a:lvl2pPr>
      <a:lvl3pPr marL="1049960" indent="-209992" algn="l" defTabSz="419984" rtl="0" eaLnBrk="1" latinLnBrk="0" hangingPunct="1">
        <a:spcBef>
          <a:spcPct val="20000"/>
        </a:spcBef>
        <a:buFont typeface="Arial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469944" indent="-209992" algn="l" defTabSz="419984" rtl="0" eaLnBrk="1" latinLnBrk="0" hangingPunct="1">
        <a:spcBef>
          <a:spcPct val="20000"/>
        </a:spcBef>
        <a:buFont typeface="Arial"/>
        <a:buChar char="–"/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89928" indent="-209992" algn="l" defTabSz="419984" rtl="0" eaLnBrk="1" latinLnBrk="0" hangingPunct="1">
        <a:spcBef>
          <a:spcPct val="20000"/>
        </a:spcBef>
        <a:buFont typeface="Arial"/>
        <a:buChar char="»"/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09912" indent="-209992" algn="l" defTabSz="419984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5" indent="-209992" algn="l" defTabSz="419984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149879" indent="-209992" algn="l" defTabSz="419984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569863" indent="-209992" algn="l" defTabSz="419984" rtl="0" eaLnBrk="1" latinLnBrk="0" hangingPunct="1">
        <a:spcBef>
          <a:spcPct val="20000"/>
        </a:spcBef>
        <a:buFont typeface="Arial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1pPr>
      <a:lvl2pPr marL="419984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2pPr>
      <a:lvl3pPr marL="839968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259952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679936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099920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6pPr>
      <a:lvl7pPr marL="2519904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7pPr>
      <a:lvl8pPr marL="2939887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8pPr>
      <a:lvl9pPr marL="3359871" algn="l" defTabSz="419984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6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8163" y="211489"/>
            <a:ext cx="10098829" cy="83256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/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/>
          <p:nvPr/>
        </p:nvSpPr>
        <p:spPr>
          <a:xfrm>
            <a:off x="6230780" y="5870182"/>
            <a:ext cx="3393686" cy="1237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600" b="0" kern="1200" cap="none" spc="0" baseline="0">
                <a:solidFill>
                  <a:schemeClr val="tx1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1pPr>
            <a:lvl2pPr marL="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2pPr>
            <a:lvl3pPr marL="557530" indent="-28575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 panose="02010600030101010101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3pPr>
            <a:lvl4pPr marL="8229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4pPr>
            <a:lvl5pPr marL="10515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 panose="02010600030101010101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26334"/>
              </a:buClr>
            </a:pPr>
            <a:r>
              <a:rPr lang="en-GB" sz="637">
                <a:solidFill>
                  <a:srgbClr val="454545"/>
                </a:solidFill>
              </a:rPr>
              <a:t>© GS1 2021</a:t>
            </a:r>
          </a:p>
          <a:p>
            <a:pPr>
              <a:buClr>
                <a:srgbClr val="F26334"/>
              </a:buClr>
            </a:pPr>
            <a:endParaRPr lang="en-GB" sz="637">
              <a:solidFill>
                <a:srgbClr val="454545"/>
              </a:solidFill>
            </a:endParaRP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348170" y="5830549"/>
            <a:ext cx="303230" cy="183989"/>
          </a:xfrm>
          <a:prstGeom prst="rect">
            <a:avLst/>
          </a:prstGeom>
        </p:spPr>
        <p:txBody>
          <a:bodyPr vert="horz" wrap="square" lIns="0" tIns="0" rIns="0" bIns="0" numCol="1" anchor="ctr" anchorCtr="0" compatLnSpc="1"/>
          <a:lstStyle>
            <a:lvl1pPr algn="r">
              <a:defRPr sz="747" smtClean="0">
                <a:solidFill>
                  <a:srgbClr val="454545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defTabSz="973900"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defTabSz="973900"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164" y="5617392"/>
            <a:ext cx="1719360" cy="50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381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  <p:sldLayoutId id="2147483907" r:id="rId15"/>
    <p:sldLayoutId id="2147483908" r:id="rId16"/>
    <p:sldLayoutId id="2147483909" r:id="rId17"/>
    <p:sldLayoutId id="2147483910" r:id="rId18"/>
    <p:sldLayoutId id="2147483911" r:id="rId19"/>
    <p:sldLayoutId id="2147483912" r:id="rId20"/>
    <p:sldLayoutId id="2147483913" r:id="rId21"/>
    <p:sldLayoutId id="2147483914" r:id="rId22"/>
    <p:sldLayoutId id="2147483915" r:id="rId23"/>
    <p:sldLayoutId id="2147483916" r:id="rId24"/>
    <p:sldLayoutId id="2147483917" r:id="rId25"/>
    <p:sldLayoutId id="2147483919" r:id="rId26"/>
    <p:sldLayoutId id="2147483920" r:id="rId27"/>
    <p:sldLayoutId id="2147483921" r:id="rId28"/>
    <p:sldLayoutId id="2147483922" r:id="rId29"/>
    <p:sldLayoutId id="2147483923" r:id="rId30"/>
    <p:sldLayoutId id="2147483924" r:id="rId31"/>
    <p:sldLayoutId id="2147483925" r:id="rId32"/>
    <p:sldLayoutId id="2147483926" r:id="rId33"/>
    <p:sldLayoutId id="2147483927" r:id="rId34"/>
  </p:sldLayoutIdLst>
  <p:hf hdr="0" ftr="0" dt="0"/>
  <p:txStyles>
    <p:titleStyle>
      <a:lvl1pPr algn="l" defTabSz="486950" rtl="0" eaLnBrk="1" fontAlgn="base" hangingPunct="1">
        <a:spcBef>
          <a:spcPct val="0"/>
        </a:spcBef>
        <a:spcAft>
          <a:spcPct val="0"/>
        </a:spcAft>
        <a:defRPr sz="2664" kern="1200" cap="none" spc="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1pPr>
      <a:lvl2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2pPr>
      <a:lvl3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3pPr>
      <a:lvl4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4pPr>
      <a:lvl5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5pPr>
      <a:lvl6pPr marL="486950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6pPr>
      <a:lvl7pPr marL="973900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7pPr>
      <a:lvl8pPr marL="1460849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8pPr>
      <a:lvl9pPr marL="1947799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9pPr>
    </p:titleStyle>
    <p:bodyStyle>
      <a:lvl1pPr marL="383492" marR="0" indent="-304149" algn="l" defTabSz="486950" rtl="0" eaLnBrk="1" fontAlgn="base" latinLnBrk="0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Tx/>
        <a:buFont typeface="Arial" panose="020B0604020202020204"/>
        <a:buChar char="•"/>
        <a:defRPr sz="1813" b="0" i="0" kern="1200" baseline="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1pPr>
      <a:lvl2pPr marL="594297" marR="0" indent="-304149" algn="l" defTabSz="486950" rtl="0" eaLnBrk="1" fontAlgn="base" latinLnBrk="0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Tx/>
        <a:buFont typeface="Lucida Grande" panose="02010600030101010101"/>
        <a:buChar char="­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2pPr>
      <a:lvl3pPr marL="878221" indent="-304149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Font typeface="Arial" panose="020B0604020202020204"/>
        <a:buChar char="•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3pPr>
      <a:lvl4pPr marL="1119362" indent="-243475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Font typeface="Lucida Grande" panose="02010600030101010101"/>
        <a:buChar char="­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4pPr>
      <a:lvl5pPr marL="1349613" indent="-243475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Pct val="100000"/>
        <a:buFont typeface="Arial" panose="020B0604020202020204"/>
        <a:buChar char="•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5pPr>
      <a:lvl6pPr marL="2677446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6pPr>
      <a:lvl7pPr marL="3164396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7pPr>
      <a:lvl8pPr marL="3651345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8pPr>
      <a:lvl9pPr marL="4138295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1pPr>
      <a:lvl2pPr marL="48695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2pPr>
      <a:lvl3pPr marL="97390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3pPr>
      <a:lvl4pPr marL="1460849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4pPr>
      <a:lvl5pPr marL="1947799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5pPr>
      <a:lvl6pPr marL="2433971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6pPr>
      <a:lvl7pPr marL="2920921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7pPr>
      <a:lvl8pPr marL="340787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8pPr>
      <a:lvl9pPr marL="389482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8162" y="211488"/>
            <a:ext cx="10098829" cy="83256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/>
          <a:lstStyle/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5" name="Text Placeholder 19"/>
          <p:cNvSpPr txBox="1"/>
          <p:nvPr/>
        </p:nvSpPr>
        <p:spPr>
          <a:xfrm>
            <a:off x="8260686" y="5855949"/>
            <a:ext cx="1399993" cy="24752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600" b="0" kern="1200" cap="none" spc="0" baseline="0">
                <a:solidFill>
                  <a:schemeClr val="tx1"/>
                </a:solidFill>
                <a:latin typeface="Verdana" panose="020B0604030504040204"/>
                <a:ea typeface="MS PGothic" charset="0"/>
                <a:cs typeface="Verdana" panose="020B0604030504040204"/>
              </a:defRPr>
            </a:lvl1pPr>
            <a:lvl2pPr marL="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charset="0"/>
                <a:cs typeface="Verdana" panose="020B0604030504040204"/>
              </a:defRPr>
            </a:lvl2pPr>
            <a:lvl3pPr marL="557530" indent="-28575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 panose="020B0600040502020204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charset="0"/>
                <a:cs typeface="Verdana" panose="020B0604030504040204"/>
              </a:defRPr>
            </a:lvl3pPr>
            <a:lvl4pPr marL="8229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charset="0"/>
                <a:cs typeface="Verdana" panose="020B0604030504040204"/>
              </a:defRPr>
            </a:lvl4pPr>
            <a:lvl5pPr marL="10515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 panose="020B0600040502020204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charset="0"/>
                <a:cs typeface="Verdana" panose="020B0604030504040204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20" noProof="0" dirty="0">
                <a:solidFill>
                  <a:srgbClr val="454545"/>
                </a:solidFill>
              </a:rPr>
              <a:t>© GS1</a:t>
            </a:r>
            <a:r>
              <a:rPr lang="en-GB" sz="920" baseline="0" noProof="0" dirty="0">
                <a:solidFill>
                  <a:srgbClr val="454545"/>
                </a:solidFill>
              </a:rPr>
              <a:t> </a:t>
            </a:r>
            <a:r>
              <a:rPr lang="en-GB" sz="920" noProof="0" dirty="0">
                <a:solidFill>
                  <a:srgbClr val="454545"/>
                </a:solidFill>
              </a:rPr>
              <a:t>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535" y="5742313"/>
            <a:ext cx="1313474" cy="386560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348170" y="5830549"/>
            <a:ext cx="303231" cy="183989"/>
          </a:xfrm>
          <a:prstGeom prst="rect">
            <a:avLst/>
          </a:prstGeom>
        </p:spPr>
        <p:txBody>
          <a:bodyPr vert="horz" wrap="square" lIns="0" tIns="0" rIns="0" bIns="0" numCol="1" anchor="ctr" anchorCtr="0" compatLnSpc="1"/>
          <a:lstStyle>
            <a:lvl1pPr algn="r">
              <a:defRPr sz="920" smtClean="0">
                <a:solidFill>
                  <a:srgbClr val="454545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723" y="5770221"/>
            <a:ext cx="2099065" cy="295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806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  <p:sldLayoutId id="2147483947" r:id="rId15"/>
    <p:sldLayoutId id="2147483948" r:id="rId16"/>
    <p:sldLayoutId id="2147483949" r:id="rId17"/>
    <p:sldLayoutId id="2147483950" r:id="rId18"/>
    <p:sldLayoutId id="2147483951" r:id="rId19"/>
    <p:sldLayoutId id="2147483952" r:id="rId20"/>
    <p:sldLayoutId id="2147483953" r:id="rId21"/>
    <p:sldLayoutId id="2147483954" r:id="rId22"/>
    <p:sldLayoutId id="2147483955" r:id="rId23"/>
    <p:sldLayoutId id="2147483956" r:id="rId24"/>
    <p:sldLayoutId id="2147483957" r:id="rId25"/>
    <p:sldLayoutId id="2147483958" r:id="rId26"/>
    <p:sldLayoutId id="2147483959" r:id="rId27"/>
  </p:sldLayoutIdLst>
  <p:hf hdr="0" ftr="0" dt="0"/>
  <p:txStyles>
    <p:titleStyle>
      <a:lvl1pPr algn="l" defTabSz="419735" rtl="0" eaLnBrk="1" fontAlgn="base" hangingPunct="1">
        <a:spcBef>
          <a:spcPct val="0"/>
        </a:spcBef>
        <a:spcAft>
          <a:spcPct val="0"/>
        </a:spcAft>
        <a:defRPr sz="3200" b="1" kern="1200" cap="none" spc="0">
          <a:solidFill>
            <a:schemeClr val="tx2"/>
          </a:solidFill>
          <a:latin typeface="+mn-lt"/>
          <a:ea typeface="+mj-ea"/>
          <a:cs typeface="Verdana" panose="020B0604030504040204"/>
        </a:defRPr>
      </a:lvl1pPr>
      <a:lvl2pPr algn="l" defTabSz="419735" rtl="0" eaLnBrk="1" fontAlgn="base" hangingPunct="1">
        <a:spcBef>
          <a:spcPct val="0"/>
        </a:spcBef>
        <a:spcAft>
          <a:spcPct val="0"/>
        </a:spcAft>
        <a:defRPr sz="2205">
          <a:solidFill>
            <a:schemeClr val="bg1"/>
          </a:solidFill>
          <a:latin typeface="Arial" panose="020B0604020202020204" pitchFamily="34" charset="0"/>
          <a:ea typeface="MS PGothic" charset="0"/>
          <a:cs typeface="MS PGothic" charset="0"/>
        </a:defRPr>
      </a:lvl2pPr>
      <a:lvl3pPr algn="l" defTabSz="419735" rtl="0" eaLnBrk="1" fontAlgn="base" hangingPunct="1">
        <a:spcBef>
          <a:spcPct val="0"/>
        </a:spcBef>
        <a:spcAft>
          <a:spcPct val="0"/>
        </a:spcAft>
        <a:defRPr sz="2205">
          <a:solidFill>
            <a:schemeClr val="bg1"/>
          </a:solidFill>
          <a:latin typeface="Arial" panose="020B0604020202020204" pitchFamily="34" charset="0"/>
          <a:ea typeface="MS PGothic" charset="0"/>
          <a:cs typeface="MS PGothic" charset="0"/>
        </a:defRPr>
      </a:lvl3pPr>
      <a:lvl4pPr algn="l" defTabSz="419735" rtl="0" eaLnBrk="1" fontAlgn="base" hangingPunct="1">
        <a:spcBef>
          <a:spcPct val="0"/>
        </a:spcBef>
        <a:spcAft>
          <a:spcPct val="0"/>
        </a:spcAft>
        <a:defRPr sz="2205">
          <a:solidFill>
            <a:schemeClr val="bg1"/>
          </a:solidFill>
          <a:latin typeface="Arial" panose="020B0604020202020204" pitchFamily="34" charset="0"/>
          <a:ea typeface="MS PGothic" charset="0"/>
          <a:cs typeface="MS PGothic" charset="0"/>
        </a:defRPr>
      </a:lvl4pPr>
      <a:lvl5pPr algn="l" defTabSz="419735" rtl="0" eaLnBrk="1" fontAlgn="base" hangingPunct="1">
        <a:spcBef>
          <a:spcPct val="0"/>
        </a:spcBef>
        <a:spcAft>
          <a:spcPct val="0"/>
        </a:spcAft>
        <a:defRPr sz="2205">
          <a:solidFill>
            <a:schemeClr val="bg1"/>
          </a:solidFill>
          <a:latin typeface="Arial" panose="020B0604020202020204" pitchFamily="34" charset="0"/>
          <a:ea typeface="MS PGothic" charset="0"/>
          <a:cs typeface="MS PGothic" charset="0"/>
        </a:defRPr>
      </a:lvl5pPr>
      <a:lvl6pPr marL="419735" algn="l" defTabSz="419735" rtl="0" eaLnBrk="1" fontAlgn="base" hangingPunct="1">
        <a:spcBef>
          <a:spcPct val="0"/>
        </a:spcBef>
        <a:spcAft>
          <a:spcPct val="0"/>
        </a:spcAft>
        <a:defRPr sz="2390">
          <a:solidFill>
            <a:srgbClr val="002C6C"/>
          </a:solidFill>
          <a:latin typeface="Arial" panose="020B0604020202020204" pitchFamily="34" charset="0"/>
          <a:ea typeface="MS PGothic" charset="0"/>
          <a:cs typeface="MS PGothic" charset="0"/>
        </a:defRPr>
      </a:lvl6pPr>
      <a:lvl7pPr marL="840105" algn="l" defTabSz="419735" rtl="0" eaLnBrk="1" fontAlgn="base" hangingPunct="1">
        <a:spcBef>
          <a:spcPct val="0"/>
        </a:spcBef>
        <a:spcAft>
          <a:spcPct val="0"/>
        </a:spcAft>
        <a:defRPr sz="2390">
          <a:solidFill>
            <a:srgbClr val="002C6C"/>
          </a:solidFill>
          <a:latin typeface="Arial" panose="020B0604020202020204" pitchFamily="34" charset="0"/>
          <a:ea typeface="MS PGothic" charset="0"/>
          <a:cs typeface="MS PGothic" charset="0"/>
        </a:defRPr>
      </a:lvl7pPr>
      <a:lvl8pPr marL="1259840" algn="l" defTabSz="419735" rtl="0" eaLnBrk="1" fontAlgn="base" hangingPunct="1">
        <a:spcBef>
          <a:spcPct val="0"/>
        </a:spcBef>
        <a:spcAft>
          <a:spcPct val="0"/>
        </a:spcAft>
        <a:defRPr sz="2390">
          <a:solidFill>
            <a:srgbClr val="002C6C"/>
          </a:solidFill>
          <a:latin typeface="Arial" panose="020B0604020202020204" pitchFamily="34" charset="0"/>
          <a:ea typeface="MS PGothic" charset="0"/>
          <a:cs typeface="MS PGothic" charset="0"/>
        </a:defRPr>
      </a:lvl8pPr>
      <a:lvl9pPr marL="1679575" algn="l" defTabSz="419735" rtl="0" eaLnBrk="1" fontAlgn="base" hangingPunct="1">
        <a:spcBef>
          <a:spcPct val="0"/>
        </a:spcBef>
        <a:spcAft>
          <a:spcPct val="0"/>
        </a:spcAft>
        <a:defRPr sz="2390">
          <a:solidFill>
            <a:srgbClr val="002C6C"/>
          </a:solidFill>
          <a:latin typeface="Arial" panose="020B0604020202020204" pitchFamily="34" charset="0"/>
          <a:ea typeface="MS PGothic" charset="0"/>
          <a:cs typeface="MS PGothic" charset="0"/>
        </a:defRPr>
      </a:lvl9pPr>
    </p:titleStyle>
    <p:bodyStyle>
      <a:lvl1pPr marL="330835" marR="0" indent="-262255" algn="l" defTabSz="419735" rtl="0" eaLnBrk="1" fontAlgn="base" latinLnBrk="0" hangingPunct="1">
        <a:lnSpc>
          <a:spcPct val="110000"/>
        </a:lnSpc>
        <a:spcBef>
          <a:spcPts val="365"/>
        </a:spcBef>
        <a:spcAft>
          <a:spcPct val="0"/>
        </a:spcAft>
        <a:buClr>
          <a:schemeClr val="accent1"/>
        </a:buClr>
        <a:buSzTx/>
        <a:buFont typeface="Arial" panose="020B0604020202020204"/>
        <a:buChar char="•"/>
        <a:defRPr sz="1560" b="0" i="0" kern="1200" baseline="0">
          <a:solidFill>
            <a:schemeClr val="tx2"/>
          </a:solidFill>
          <a:latin typeface="Verdana" panose="020B0604030504040204"/>
          <a:ea typeface="MS PGothic" charset="0"/>
          <a:cs typeface="Verdana" panose="020B0604030504040204"/>
        </a:defRPr>
      </a:lvl1pPr>
      <a:lvl2pPr marL="512445" marR="0" indent="-262255" algn="l" defTabSz="419735" rtl="0" eaLnBrk="1" fontAlgn="base" latinLnBrk="0" hangingPunct="1">
        <a:lnSpc>
          <a:spcPct val="110000"/>
        </a:lnSpc>
        <a:spcBef>
          <a:spcPts val="365"/>
        </a:spcBef>
        <a:spcAft>
          <a:spcPct val="0"/>
        </a:spcAft>
        <a:buClr>
          <a:schemeClr val="accent1"/>
        </a:buClr>
        <a:buSzTx/>
        <a:buFont typeface="Lucida Grande" panose="020B0600040502020204"/>
        <a:buChar char="­"/>
        <a:defRPr sz="1560" b="0" i="0" kern="1200">
          <a:solidFill>
            <a:schemeClr val="tx2"/>
          </a:solidFill>
          <a:latin typeface="Verdana" panose="020B0604030504040204"/>
          <a:ea typeface="MS PGothic" charset="0"/>
          <a:cs typeface="Verdana" panose="020B0604030504040204"/>
        </a:defRPr>
      </a:lvl2pPr>
      <a:lvl3pPr marL="757555" indent="-262255" algn="l" defTabSz="419735" rtl="0" eaLnBrk="1" fontAlgn="base" hangingPunct="1">
        <a:lnSpc>
          <a:spcPct val="110000"/>
        </a:lnSpc>
        <a:spcBef>
          <a:spcPts val="365"/>
        </a:spcBef>
        <a:spcAft>
          <a:spcPct val="0"/>
        </a:spcAft>
        <a:buClr>
          <a:schemeClr val="accent1"/>
        </a:buClr>
        <a:buFont typeface="Arial" panose="020B0604020202020204"/>
        <a:buChar char="•"/>
        <a:defRPr sz="1560" b="0" i="0" kern="1200">
          <a:solidFill>
            <a:schemeClr val="tx2"/>
          </a:solidFill>
          <a:latin typeface="Verdana" panose="020B0604030504040204"/>
          <a:ea typeface="MS PGothic" charset="0"/>
          <a:cs typeface="Verdana" panose="020B0604030504040204"/>
        </a:defRPr>
      </a:lvl3pPr>
      <a:lvl4pPr marL="965835" indent="-210185" algn="l" defTabSz="419735" rtl="0" eaLnBrk="1" fontAlgn="base" hangingPunct="1">
        <a:lnSpc>
          <a:spcPct val="110000"/>
        </a:lnSpc>
        <a:spcBef>
          <a:spcPts val="365"/>
        </a:spcBef>
        <a:spcAft>
          <a:spcPct val="0"/>
        </a:spcAft>
        <a:buClr>
          <a:schemeClr val="accent1"/>
        </a:buClr>
        <a:buFont typeface="Lucida Grande" panose="020B0600040502020204"/>
        <a:buChar char="­"/>
        <a:defRPr sz="1560" b="0" i="0" kern="1200">
          <a:solidFill>
            <a:schemeClr val="tx2"/>
          </a:solidFill>
          <a:latin typeface="Verdana" panose="020B0604030504040204"/>
          <a:ea typeface="MS PGothic" charset="0"/>
          <a:cs typeface="Verdana" panose="020B0604030504040204"/>
        </a:defRPr>
      </a:lvl4pPr>
      <a:lvl5pPr marL="1163955" indent="-210185" algn="l" defTabSz="419735" rtl="0" eaLnBrk="1" fontAlgn="base" hangingPunct="1">
        <a:lnSpc>
          <a:spcPct val="110000"/>
        </a:lnSpc>
        <a:spcBef>
          <a:spcPts val="365"/>
        </a:spcBef>
        <a:spcAft>
          <a:spcPct val="0"/>
        </a:spcAft>
        <a:buClr>
          <a:schemeClr val="accent1"/>
        </a:buClr>
        <a:buSzPct val="100000"/>
        <a:buFont typeface="Arial" panose="020B0604020202020204"/>
        <a:buChar char="•"/>
        <a:defRPr sz="1560" b="0" i="0" kern="1200">
          <a:solidFill>
            <a:schemeClr val="tx2"/>
          </a:solidFill>
          <a:latin typeface="Verdana" panose="020B0604030504040204"/>
          <a:ea typeface="MS PGothic" charset="0"/>
          <a:cs typeface="Verdana" panose="020B0604030504040204"/>
        </a:defRPr>
      </a:lvl5pPr>
      <a:lvl6pPr marL="2309495" indent="-210185" algn="l" defTabSz="419735" rtl="0" eaLnBrk="1" latinLnBrk="0" hangingPunct="1">
        <a:spcBef>
          <a:spcPct val="20000"/>
        </a:spcBef>
        <a:buFont typeface="Arial" panose="020B0604020202020204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729865" indent="-210185" algn="l" defTabSz="419735" rtl="0" eaLnBrk="1" latinLnBrk="0" hangingPunct="1">
        <a:spcBef>
          <a:spcPct val="20000"/>
        </a:spcBef>
        <a:buFont typeface="Arial" panose="020B0604020202020204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149600" indent="-210185" algn="l" defTabSz="419735" rtl="0" eaLnBrk="1" latinLnBrk="0" hangingPunct="1">
        <a:spcBef>
          <a:spcPct val="20000"/>
        </a:spcBef>
        <a:buFont typeface="Arial" panose="020B0604020202020204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569335" indent="-210185" algn="l" defTabSz="419735" rtl="0" eaLnBrk="1" latinLnBrk="0" hangingPunct="1">
        <a:spcBef>
          <a:spcPct val="20000"/>
        </a:spcBef>
        <a:buFont typeface="Arial" panose="020B0604020202020204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9735" rtl="0" eaLnBrk="1" latinLnBrk="0" hangingPunct="1">
        <a:defRPr sz="1655" kern="1200">
          <a:solidFill>
            <a:schemeClr val="tx1"/>
          </a:solidFill>
          <a:latin typeface="+mn-lt"/>
          <a:ea typeface="+mn-ea"/>
          <a:cs typeface="+mn-cs"/>
        </a:defRPr>
      </a:lvl1pPr>
      <a:lvl2pPr marL="419735" algn="l" defTabSz="419735" rtl="0" eaLnBrk="1" latinLnBrk="0" hangingPunct="1">
        <a:defRPr sz="1655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algn="l" defTabSz="419735" rtl="0" eaLnBrk="1" latinLnBrk="0" hangingPunct="1">
        <a:defRPr sz="1655" kern="1200">
          <a:solidFill>
            <a:schemeClr val="tx1"/>
          </a:solidFill>
          <a:latin typeface="+mn-lt"/>
          <a:ea typeface="+mn-ea"/>
          <a:cs typeface="+mn-cs"/>
        </a:defRPr>
      </a:lvl3pPr>
      <a:lvl4pPr marL="1259840" algn="l" defTabSz="419735" rtl="0" eaLnBrk="1" latinLnBrk="0" hangingPunct="1">
        <a:defRPr sz="1655" kern="1200">
          <a:solidFill>
            <a:schemeClr val="tx1"/>
          </a:solidFill>
          <a:latin typeface="+mn-lt"/>
          <a:ea typeface="+mn-ea"/>
          <a:cs typeface="+mn-cs"/>
        </a:defRPr>
      </a:lvl4pPr>
      <a:lvl5pPr marL="1679575" algn="l" defTabSz="419735" rtl="0" eaLnBrk="1" latinLnBrk="0" hangingPunct="1">
        <a:defRPr sz="1655" kern="1200">
          <a:solidFill>
            <a:schemeClr val="tx1"/>
          </a:solidFill>
          <a:latin typeface="+mn-lt"/>
          <a:ea typeface="+mn-ea"/>
          <a:cs typeface="+mn-cs"/>
        </a:defRPr>
      </a:lvl5pPr>
      <a:lvl6pPr marL="2099945" algn="l" defTabSz="419735" rtl="0" eaLnBrk="1" latinLnBrk="0" hangingPunct="1">
        <a:defRPr sz="1655" kern="1200">
          <a:solidFill>
            <a:schemeClr val="tx1"/>
          </a:solidFill>
          <a:latin typeface="+mn-lt"/>
          <a:ea typeface="+mn-ea"/>
          <a:cs typeface="+mn-cs"/>
        </a:defRPr>
      </a:lvl6pPr>
      <a:lvl7pPr marL="2519680" algn="l" defTabSz="419735" rtl="0" eaLnBrk="1" latinLnBrk="0" hangingPunct="1">
        <a:defRPr sz="1655" kern="1200">
          <a:solidFill>
            <a:schemeClr val="tx1"/>
          </a:solidFill>
          <a:latin typeface="+mn-lt"/>
          <a:ea typeface="+mn-ea"/>
          <a:cs typeface="+mn-cs"/>
        </a:defRPr>
      </a:lvl7pPr>
      <a:lvl8pPr marL="2939415" algn="l" defTabSz="419735" rtl="0" eaLnBrk="1" latinLnBrk="0" hangingPunct="1">
        <a:defRPr sz="1655" kern="1200">
          <a:solidFill>
            <a:schemeClr val="tx1"/>
          </a:solidFill>
          <a:latin typeface="+mn-lt"/>
          <a:ea typeface="+mn-ea"/>
          <a:cs typeface="+mn-cs"/>
        </a:defRPr>
      </a:lvl8pPr>
      <a:lvl9pPr marL="3359785" algn="l" defTabSz="419735" rtl="0" eaLnBrk="1" latinLnBrk="0" hangingPunct="1">
        <a:defRPr sz="16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8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8163" y="211489"/>
            <a:ext cx="10098829" cy="83256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/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/>
          <p:nvPr/>
        </p:nvSpPr>
        <p:spPr>
          <a:xfrm>
            <a:off x="6230780" y="5870182"/>
            <a:ext cx="3393686" cy="1237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600" b="0" kern="1200" cap="none" spc="0" baseline="0">
                <a:solidFill>
                  <a:schemeClr val="tx1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1pPr>
            <a:lvl2pPr marL="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2pPr>
            <a:lvl3pPr marL="557530" indent="-28575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3pPr>
            <a:lvl4pPr marL="8229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4pPr>
            <a:lvl5pPr marL="10515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26334"/>
              </a:buClr>
            </a:pPr>
            <a:r>
              <a:rPr lang="en-GB" sz="637">
                <a:solidFill>
                  <a:srgbClr val="454545"/>
                </a:solidFill>
              </a:rPr>
              <a:t>© GS1 2021</a:t>
            </a:r>
          </a:p>
          <a:p>
            <a:pPr>
              <a:buClr>
                <a:srgbClr val="F26334"/>
              </a:buClr>
            </a:pPr>
            <a:endParaRPr lang="en-GB" sz="637">
              <a:solidFill>
                <a:srgbClr val="454545"/>
              </a:solidFill>
            </a:endParaRP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348170" y="5830549"/>
            <a:ext cx="303230" cy="183989"/>
          </a:xfrm>
          <a:prstGeom prst="rect">
            <a:avLst/>
          </a:prstGeom>
        </p:spPr>
        <p:txBody>
          <a:bodyPr vert="horz" wrap="square" lIns="0" tIns="0" rIns="0" bIns="0" numCol="1" anchor="ctr" anchorCtr="0" compatLnSpc="1"/>
          <a:lstStyle>
            <a:lvl1pPr algn="r">
              <a:defRPr sz="747" smtClean="0">
                <a:solidFill>
                  <a:srgbClr val="454545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defTabSz="973900"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defTabSz="973900"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pic>
        <p:nvPicPr>
          <p:cNvPr id="3" name="Picture 2" descr="A picture containing drawing&#10;&#10;Description automatically generated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163" y="5683223"/>
            <a:ext cx="658905" cy="478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975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  <p:sldLayoutId id="2147483983" r:id="rId22"/>
    <p:sldLayoutId id="2147483984" r:id="rId23"/>
    <p:sldLayoutId id="2147483985" r:id="rId24"/>
    <p:sldLayoutId id="2147483986" r:id="rId25"/>
    <p:sldLayoutId id="2147483987" r:id="rId26"/>
  </p:sldLayoutIdLst>
  <p:hf hdr="0" ftr="0" dt="0"/>
  <p:txStyles>
    <p:titleStyle>
      <a:lvl1pPr algn="l" defTabSz="486950" rtl="0" eaLnBrk="1" fontAlgn="base" hangingPunct="1">
        <a:spcBef>
          <a:spcPct val="0"/>
        </a:spcBef>
        <a:spcAft>
          <a:spcPct val="0"/>
        </a:spcAft>
        <a:defRPr sz="2664" kern="1200" cap="none" spc="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1pPr>
      <a:lvl2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2pPr>
      <a:lvl3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3pPr>
      <a:lvl4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4pPr>
      <a:lvl5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5pPr>
      <a:lvl6pPr marL="486950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6pPr>
      <a:lvl7pPr marL="973900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7pPr>
      <a:lvl8pPr marL="1460849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8pPr>
      <a:lvl9pPr marL="1947799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9pPr>
    </p:titleStyle>
    <p:bodyStyle>
      <a:lvl1pPr marL="383492" marR="0" indent="-304149" algn="l" defTabSz="486950" rtl="0" eaLnBrk="1" fontAlgn="base" latinLnBrk="0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Tx/>
        <a:buFont typeface="Arial" panose="020B0604020202020204"/>
        <a:buChar char="•"/>
        <a:defRPr sz="1813" b="0" i="0" kern="1200" baseline="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1pPr>
      <a:lvl2pPr marL="594297" marR="0" indent="-304149" algn="l" defTabSz="486950" rtl="0" eaLnBrk="1" fontAlgn="base" latinLnBrk="0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Tx/>
        <a:buFont typeface="Lucida Grande"/>
        <a:buChar char="­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2pPr>
      <a:lvl3pPr marL="878221" indent="-304149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Font typeface="Arial" panose="020B0604020202020204"/>
        <a:buChar char="•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3pPr>
      <a:lvl4pPr marL="1119362" indent="-243475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Font typeface="Lucida Grande"/>
        <a:buChar char="­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4pPr>
      <a:lvl5pPr marL="1349613" indent="-243475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Pct val="100000"/>
        <a:buFont typeface="Arial" panose="020B0604020202020204"/>
        <a:buChar char="•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5pPr>
      <a:lvl6pPr marL="2677446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6pPr>
      <a:lvl7pPr marL="3164396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7pPr>
      <a:lvl8pPr marL="3651345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8pPr>
      <a:lvl9pPr marL="4138295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1pPr>
      <a:lvl2pPr marL="48695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2pPr>
      <a:lvl3pPr marL="97390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3pPr>
      <a:lvl4pPr marL="1460849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4pPr>
      <a:lvl5pPr marL="1947799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5pPr>
      <a:lvl6pPr marL="2433971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6pPr>
      <a:lvl7pPr marL="2920921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7pPr>
      <a:lvl8pPr marL="340787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8pPr>
      <a:lvl9pPr marL="389482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8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8163" y="211489"/>
            <a:ext cx="10098829" cy="83256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/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/>
          <p:nvPr/>
        </p:nvSpPr>
        <p:spPr>
          <a:xfrm>
            <a:off x="6230780" y="5870182"/>
            <a:ext cx="3393686" cy="1237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600" b="0" kern="1200" cap="none" spc="0" baseline="0">
                <a:solidFill>
                  <a:schemeClr val="tx1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1pPr>
            <a:lvl2pPr marL="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2pPr>
            <a:lvl3pPr marL="557530" indent="-28575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3pPr>
            <a:lvl4pPr marL="8229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4pPr>
            <a:lvl5pPr marL="10515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26334"/>
              </a:buClr>
            </a:pPr>
            <a:r>
              <a:rPr lang="en-GB" sz="637">
                <a:solidFill>
                  <a:srgbClr val="454545"/>
                </a:solidFill>
              </a:rPr>
              <a:t>© GS1 2021</a:t>
            </a:r>
          </a:p>
          <a:p>
            <a:pPr>
              <a:buClr>
                <a:srgbClr val="F26334"/>
              </a:buClr>
            </a:pPr>
            <a:endParaRPr lang="en-GB" sz="637">
              <a:solidFill>
                <a:srgbClr val="454545"/>
              </a:solidFill>
            </a:endParaRP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348170" y="5830549"/>
            <a:ext cx="303230" cy="183989"/>
          </a:xfrm>
          <a:prstGeom prst="rect">
            <a:avLst/>
          </a:prstGeom>
        </p:spPr>
        <p:txBody>
          <a:bodyPr vert="horz" wrap="square" lIns="0" tIns="0" rIns="0" bIns="0" numCol="1" anchor="ctr" anchorCtr="0" compatLnSpc="1"/>
          <a:lstStyle>
            <a:lvl1pPr algn="r">
              <a:defRPr sz="747" smtClean="0">
                <a:solidFill>
                  <a:srgbClr val="454545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defTabSz="973900"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defTabSz="973900"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pic>
        <p:nvPicPr>
          <p:cNvPr id="3" name="Picture 2" descr="A picture containing drawing&#10;&#10;Description automatically generated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163" y="5683223"/>
            <a:ext cx="658905" cy="478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677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  <p:sldLayoutId id="2147483999" r:id="rId11"/>
    <p:sldLayoutId id="2147484000" r:id="rId12"/>
    <p:sldLayoutId id="2147484001" r:id="rId13"/>
    <p:sldLayoutId id="2147484002" r:id="rId14"/>
    <p:sldLayoutId id="2147484003" r:id="rId15"/>
    <p:sldLayoutId id="2147484004" r:id="rId16"/>
    <p:sldLayoutId id="2147484005" r:id="rId17"/>
    <p:sldLayoutId id="2147484006" r:id="rId18"/>
    <p:sldLayoutId id="2147484007" r:id="rId19"/>
    <p:sldLayoutId id="2147484008" r:id="rId20"/>
    <p:sldLayoutId id="2147484009" r:id="rId21"/>
    <p:sldLayoutId id="2147484010" r:id="rId22"/>
    <p:sldLayoutId id="2147484011" r:id="rId23"/>
    <p:sldLayoutId id="2147484012" r:id="rId24"/>
    <p:sldLayoutId id="2147484013" r:id="rId25"/>
    <p:sldLayoutId id="2147484014" r:id="rId26"/>
  </p:sldLayoutIdLst>
  <p:hf hdr="0" ftr="0" dt="0"/>
  <p:txStyles>
    <p:titleStyle>
      <a:lvl1pPr algn="l" defTabSz="486950" rtl="0" eaLnBrk="1" fontAlgn="base" hangingPunct="1">
        <a:spcBef>
          <a:spcPct val="0"/>
        </a:spcBef>
        <a:spcAft>
          <a:spcPct val="0"/>
        </a:spcAft>
        <a:defRPr sz="2664" kern="1200" cap="none" spc="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1pPr>
      <a:lvl2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2pPr>
      <a:lvl3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3pPr>
      <a:lvl4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4pPr>
      <a:lvl5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5pPr>
      <a:lvl6pPr marL="486950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6pPr>
      <a:lvl7pPr marL="973900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7pPr>
      <a:lvl8pPr marL="1460849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8pPr>
      <a:lvl9pPr marL="1947799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9pPr>
    </p:titleStyle>
    <p:bodyStyle>
      <a:lvl1pPr marL="383492" marR="0" indent="-304149" algn="l" defTabSz="486950" rtl="0" eaLnBrk="1" fontAlgn="base" latinLnBrk="0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Tx/>
        <a:buFont typeface="Arial" panose="020B0604020202020204"/>
        <a:buChar char="•"/>
        <a:defRPr sz="1813" b="0" i="0" kern="1200" baseline="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1pPr>
      <a:lvl2pPr marL="594297" marR="0" indent="-304149" algn="l" defTabSz="486950" rtl="0" eaLnBrk="1" fontAlgn="base" latinLnBrk="0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Tx/>
        <a:buFont typeface="Lucida Grande"/>
        <a:buChar char="­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2pPr>
      <a:lvl3pPr marL="878221" indent="-304149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Font typeface="Arial" panose="020B0604020202020204"/>
        <a:buChar char="•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3pPr>
      <a:lvl4pPr marL="1119362" indent="-243475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Font typeface="Lucida Grande"/>
        <a:buChar char="­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4pPr>
      <a:lvl5pPr marL="1349613" indent="-243475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Pct val="100000"/>
        <a:buFont typeface="Arial" panose="020B0604020202020204"/>
        <a:buChar char="•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5pPr>
      <a:lvl6pPr marL="2677446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6pPr>
      <a:lvl7pPr marL="3164396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7pPr>
      <a:lvl8pPr marL="3651345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8pPr>
      <a:lvl9pPr marL="4138295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1pPr>
      <a:lvl2pPr marL="48695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2pPr>
      <a:lvl3pPr marL="97390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3pPr>
      <a:lvl4pPr marL="1460849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4pPr>
      <a:lvl5pPr marL="1947799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5pPr>
      <a:lvl6pPr marL="2433971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6pPr>
      <a:lvl7pPr marL="2920921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7pPr>
      <a:lvl8pPr marL="340787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8pPr>
      <a:lvl9pPr marL="389482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8162" y="211488"/>
            <a:ext cx="10098829" cy="83256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Title</a:t>
            </a:r>
            <a:endParaRPr lang="en-GB" noProof="0"/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6230780" y="5870182"/>
            <a:ext cx="3393686" cy="1237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735" noProof="0" dirty="0" smtClean="0">
                <a:solidFill>
                  <a:srgbClr val="454545"/>
                </a:solidFill>
              </a:rPr>
              <a:t>© GS1</a:t>
            </a:r>
            <a:r>
              <a:rPr lang="en-GB" sz="735" baseline="0" noProof="0" dirty="0" smtClean="0">
                <a:solidFill>
                  <a:srgbClr val="454545"/>
                </a:solidFill>
              </a:rPr>
              <a:t> </a:t>
            </a:r>
            <a:r>
              <a:rPr lang="en-GB" sz="735" noProof="0" dirty="0" smtClean="0">
                <a:solidFill>
                  <a:srgbClr val="454545"/>
                </a:solidFill>
              </a:rPr>
              <a:t>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535" y="5691513"/>
            <a:ext cx="1607983" cy="472829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348170" y="5830548"/>
            <a:ext cx="303230" cy="18398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57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637" y="5777460"/>
            <a:ext cx="2146935" cy="30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406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  <p:sldLayoutId id="2147484028" r:id="rId13"/>
    <p:sldLayoutId id="2147484029" r:id="rId14"/>
    <p:sldLayoutId id="2147484030" r:id="rId15"/>
    <p:sldLayoutId id="2147484031" r:id="rId16"/>
    <p:sldLayoutId id="2147484032" r:id="rId17"/>
    <p:sldLayoutId id="2147484033" r:id="rId18"/>
    <p:sldLayoutId id="2147484034" r:id="rId19"/>
    <p:sldLayoutId id="2147484035" r:id="rId20"/>
    <p:sldLayoutId id="2147484036" r:id="rId21"/>
    <p:sldLayoutId id="2147484037" r:id="rId22"/>
    <p:sldLayoutId id="2147484038" r:id="rId23"/>
    <p:sldLayoutId id="2147484039" r:id="rId24"/>
    <p:sldLayoutId id="2147484040" r:id="rId25"/>
    <p:sldLayoutId id="2147484041" r:id="rId26"/>
    <p:sldLayoutId id="2147484042" r:id="rId27"/>
    <p:sldLayoutId id="2147484043" r:id="rId28"/>
    <p:sldLayoutId id="2147484044" r:id="rId29"/>
    <p:sldLayoutId id="2147484045" r:id="rId30"/>
    <p:sldLayoutId id="2147484046" r:id="rId31"/>
    <p:sldLayoutId id="2147484047" r:id="rId32"/>
    <p:sldLayoutId id="2147484048" r:id="rId33"/>
    <p:sldLayoutId id="2147484049" r:id="rId34"/>
    <p:sldLayoutId id="2147484050" r:id="rId35"/>
    <p:sldLayoutId id="2147484051" r:id="rId36"/>
    <p:sldLayoutId id="2147484052" r:id="rId37"/>
    <p:sldLayoutId id="2147484053" r:id="rId38"/>
    <p:sldLayoutId id="2147484054" r:id="rId39"/>
    <p:sldLayoutId id="2147484055" r:id="rId40"/>
    <p:sldLayoutId id="2147484056" r:id="rId41"/>
    <p:sldLayoutId id="2147484057" r:id="rId42"/>
    <p:sldLayoutId id="2147484059" r:id="rId43"/>
    <p:sldLayoutId id="2147484060" r:id="rId44"/>
    <p:sldLayoutId id="2147484061" r:id="rId45"/>
    <p:sldLayoutId id="2147484062" r:id="rId46"/>
    <p:sldLayoutId id="2147484063" r:id="rId47"/>
    <p:sldLayoutId id="2147484064" r:id="rId48"/>
    <p:sldLayoutId id="2147484065" r:id="rId49"/>
    <p:sldLayoutId id="2147484066" r:id="rId50"/>
    <p:sldLayoutId id="2147484067" r:id="rId51"/>
    <p:sldLayoutId id="2147484068" r:id="rId52"/>
    <p:sldLayoutId id="2147484069" r:id="rId53"/>
    <p:sldLayoutId id="2147484070" r:id="rId54"/>
    <p:sldLayoutId id="2147484071" r:id="rId55"/>
    <p:sldLayoutId id="2147484072" r:id="rId56"/>
    <p:sldLayoutId id="2147484073" r:id="rId57"/>
    <p:sldLayoutId id="2147484074" r:id="rId5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60015" rtl="0" eaLnBrk="1" fontAlgn="base" hangingPunct="1">
        <a:spcBef>
          <a:spcPct val="0"/>
        </a:spcBef>
        <a:spcAft>
          <a:spcPct val="0"/>
        </a:spcAft>
        <a:defRPr sz="3063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560015" rtl="0" eaLnBrk="1" fontAlgn="base" hangingPunct="1">
        <a:spcBef>
          <a:spcPct val="0"/>
        </a:spcBef>
        <a:spcAft>
          <a:spcPct val="0"/>
        </a:spcAft>
        <a:defRPr sz="294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560015" rtl="0" eaLnBrk="1" fontAlgn="base" hangingPunct="1">
        <a:spcBef>
          <a:spcPct val="0"/>
        </a:spcBef>
        <a:spcAft>
          <a:spcPct val="0"/>
        </a:spcAft>
        <a:defRPr sz="294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560015" rtl="0" eaLnBrk="1" fontAlgn="base" hangingPunct="1">
        <a:spcBef>
          <a:spcPct val="0"/>
        </a:spcBef>
        <a:spcAft>
          <a:spcPct val="0"/>
        </a:spcAft>
        <a:defRPr sz="294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560015" rtl="0" eaLnBrk="1" fontAlgn="base" hangingPunct="1">
        <a:spcBef>
          <a:spcPct val="0"/>
        </a:spcBef>
        <a:spcAft>
          <a:spcPct val="0"/>
        </a:spcAft>
        <a:defRPr sz="294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560015" algn="l" defTabSz="560015" rtl="0" eaLnBrk="1" fontAlgn="base" hangingPunct="1">
        <a:spcBef>
          <a:spcPct val="0"/>
        </a:spcBef>
        <a:spcAft>
          <a:spcPct val="0"/>
        </a:spcAft>
        <a:defRPr sz="3185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1120030" algn="l" defTabSz="560015" rtl="0" eaLnBrk="1" fontAlgn="base" hangingPunct="1">
        <a:spcBef>
          <a:spcPct val="0"/>
        </a:spcBef>
        <a:spcAft>
          <a:spcPct val="0"/>
        </a:spcAft>
        <a:defRPr sz="3185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680046" algn="l" defTabSz="560015" rtl="0" eaLnBrk="1" fontAlgn="base" hangingPunct="1">
        <a:spcBef>
          <a:spcPct val="0"/>
        </a:spcBef>
        <a:spcAft>
          <a:spcPct val="0"/>
        </a:spcAft>
        <a:defRPr sz="3185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2240062" algn="l" defTabSz="560015" rtl="0" eaLnBrk="1" fontAlgn="base" hangingPunct="1">
        <a:spcBef>
          <a:spcPct val="0"/>
        </a:spcBef>
        <a:spcAft>
          <a:spcPct val="0"/>
        </a:spcAft>
        <a:defRPr sz="3185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441000" marR="0" indent="-350044" algn="l" defTabSz="560015" rtl="0" eaLnBrk="1" fontAlgn="base" latinLnBrk="0" hangingPunct="1">
        <a:lnSpc>
          <a:spcPct val="110000"/>
        </a:lnSpc>
        <a:spcBef>
          <a:spcPts val="49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2083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683550" marR="0" indent="-350044" algn="l" defTabSz="560015" rtl="0" eaLnBrk="1" fontAlgn="base" latinLnBrk="0" hangingPunct="1">
        <a:lnSpc>
          <a:spcPct val="110000"/>
        </a:lnSpc>
        <a:spcBef>
          <a:spcPts val="49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2083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1009890" indent="-350044" algn="l" defTabSz="560015" rtl="0" eaLnBrk="1" fontAlgn="base" hangingPunct="1">
        <a:lnSpc>
          <a:spcPct val="110000"/>
        </a:lnSpc>
        <a:spcBef>
          <a:spcPts val="490"/>
        </a:spcBef>
        <a:spcAft>
          <a:spcPct val="0"/>
        </a:spcAft>
        <a:buClr>
          <a:schemeClr val="accent1"/>
        </a:buClr>
        <a:buFont typeface="Arial"/>
        <a:buChar char="•"/>
        <a:defRPr sz="2083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287720" indent="-280008" algn="l" defTabSz="560015" rtl="0" eaLnBrk="1" fontAlgn="base" hangingPunct="1">
        <a:lnSpc>
          <a:spcPct val="110000"/>
        </a:lnSpc>
        <a:spcBef>
          <a:spcPts val="490"/>
        </a:spcBef>
        <a:spcAft>
          <a:spcPct val="0"/>
        </a:spcAft>
        <a:buClr>
          <a:schemeClr val="accent1"/>
        </a:buClr>
        <a:buFont typeface="Lucida Grande"/>
        <a:buChar char="­"/>
        <a:defRPr sz="2083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552320" indent="-280008" algn="l" defTabSz="560015" rtl="0" eaLnBrk="1" fontAlgn="base" hangingPunct="1">
        <a:lnSpc>
          <a:spcPct val="110000"/>
        </a:lnSpc>
        <a:spcBef>
          <a:spcPts val="49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2083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3080084" indent="-280008" algn="l" defTabSz="560015" rtl="0" eaLnBrk="1" latinLnBrk="0" hangingPunct="1">
        <a:spcBef>
          <a:spcPct val="20000"/>
        </a:spcBef>
        <a:buFont typeface="Arial"/>
        <a:buChar char="•"/>
        <a:defRPr sz="2450" kern="1200">
          <a:solidFill>
            <a:schemeClr val="tx1"/>
          </a:solidFill>
          <a:latin typeface="+mn-lt"/>
          <a:ea typeface="+mn-ea"/>
          <a:cs typeface="+mn-cs"/>
        </a:defRPr>
      </a:lvl6pPr>
      <a:lvl7pPr marL="3640099" indent="-280008" algn="l" defTabSz="560015" rtl="0" eaLnBrk="1" latinLnBrk="0" hangingPunct="1">
        <a:spcBef>
          <a:spcPct val="20000"/>
        </a:spcBef>
        <a:buFont typeface="Arial"/>
        <a:buChar char="•"/>
        <a:defRPr sz="2450" kern="1200">
          <a:solidFill>
            <a:schemeClr val="tx1"/>
          </a:solidFill>
          <a:latin typeface="+mn-lt"/>
          <a:ea typeface="+mn-ea"/>
          <a:cs typeface="+mn-cs"/>
        </a:defRPr>
      </a:lvl7pPr>
      <a:lvl8pPr marL="4200115" indent="-280008" algn="l" defTabSz="560015" rtl="0" eaLnBrk="1" latinLnBrk="0" hangingPunct="1">
        <a:spcBef>
          <a:spcPct val="20000"/>
        </a:spcBef>
        <a:buFont typeface="Arial"/>
        <a:buChar char="•"/>
        <a:defRPr sz="2450" kern="1200">
          <a:solidFill>
            <a:schemeClr val="tx1"/>
          </a:solidFill>
          <a:latin typeface="+mn-lt"/>
          <a:ea typeface="+mn-ea"/>
          <a:cs typeface="+mn-cs"/>
        </a:defRPr>
      </a:lvl8pPr>
      <a:lvl9pPr marL="4760131" indent="-280008" algn="l" defTabSz="560015" rtl="0" eaLnBrk="1" latinLnBrk="0" hangingPunct="1">
        <a:spcBef>
          <a:spcPct val="20000"/>
        </a:spcBef>
        <a:buFont typeface="Arial"/>
        <a:buChar char="•"/>
        <a:defRPr sz="24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60015" rtl="0" eaLnBrk="1" latinLnBrk="0" hangingPunct="1">
        <a:defRPr sz="2205" kern="1200">
          <a:solidFill>
            <a:schemeClr val="tx1"/>
          </a:solidFill>
          <a:latin typeface="+mn-lt"/>
          <a:ea typeface="+mn-ea"/>
          <a:cs typeface="+mn-cs"/>
        </a:defRPr>
      </a:lvl1pPr>
      <a:lvl2pPr marL="560015" algn="l" defTabSz="560015" rtl="0" eaLnBrk="1" latinLnBrk="0" hangingPunct="1"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1120030" algn="l" defTabSz="560015" rtl="0" eaLnBrk="1" latinLnBrk="0" hangingPunct="1"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680046" algn="l" defTabSz="560015" rtl="0" eaLnBrk="1" latinLnBrk="0" hangingPunct="1"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2240062" algn="l" defTabSz="560015" rtl="0" eaLnBrk="1" latinLnBrk="0" hangingPunct="1"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800077" algn="l" defTabSz="560015" rtl="0" eaLnBrk="1" latinLnBrk="0" hangingPunct="1"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360092" algn="l" defTabSz="560015" rtl="0" eaLnBrk="1" latinLnBrk="0" hangingPunct="1"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920107" algn="l" defTabSz="560015" rtl="0" eaLnBrk="1" latinLnBrk="0" hangingPunct="1"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480123" algn="l" defTabSz="560015" rtl="0" eaLnBrk="1" latinLnBrk="0" hangingPunct="1"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7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8163" y="211489"/>
            <a:ext cx="10098829" cy="83256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/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/>
          <p:nvPr/>
        </p:nvSpPr>
        <p:spPr>
          <a:xfrm>
            <a:off x="6230780" y="5870182"/>
            <a:ext cx="3393686" cy="1237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/>
              <a:buNone/>
              <a:defRPr sz="600" b="0" kern="1200" cap="none" spc="0" baseline="0">
                <a:solidFill>
                  <a:schemeClr val="tx1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1pPr>
            <a:lvl2pPr marL="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2pPr>
            <a:lvl3pPr marL="557530" indent="-28575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 panose="02010600030101010101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3pPr>
            <a:lvl4pPr marL="8229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/>
              <a:buChar char="•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4pPr>
            <a:lvl5pPr marL="1051560" indent="-228600" algn="l" defTabSz="457200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 panose="02010600030101010101"/>
              <a:buChar char="­"/>
              <a:defRPr sz="1700" kern="1200">
                <a:solidFill>
                  <a:srgbClr val="002C6C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26334"/>
              </a:buClr>
            </a:pPr>
            <a:r>
              <a:rPr lang="en-GB" sz="637">
                <a:solidFill>
                  <a:srgbClr val="454545"/>
                </a:solidFill>
              </a:rPr>
              <a:t>© GS1 2021</a:t>
            </a:r>
          </a:p>
          <a:p>
            <a:pPr>
              <a:buClr>
                <a:srgbClr val="F26334"/>
              </a:buClr>
            </a:pPr>
            <a:endParaRPr lang="en-GB" sz="637">
              <a:solidFill>
                <a:srgbClr val="454545"/>
              </a:solidFill>
            </a:endParaRP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348170" y="5830549"/>
            <a:ext cx="303230" cy="183989"/>
          </a:xfrm>
          <a:prstGeom prst="rect">
            <a:avLst/>
          </a:prstGeom>
        </p:spPr>
        <p:txBody>
          <a:bodyPr vert="horz" wrap="square" lIns="0" tIns="0" rIns="0" bIns="0" numCol="1" anchor="ctr" anchorCtr="0" compatLnSpc="1"/>
          <a:lstStyle>
            <a:lvl1pPr algn="r">
              <a:defRPr sz="747" smtClean="0">
                <a:solidFill>
                  <a:srgbClr val="454545"/>
                </a:solidFill>
                <a:latin typeface="Verdana" panose="020B0604030504040204"/>
                <a:cs typeface="Verdana" panose="020B0604030504040204"/>
              </a:defRPr>
            </a:lvl1pPr>
          </a:lstStyle>
          <a:p>
            <a:pPr defTabSz="973900"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pPr defTabSz="973900"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164" y="5617392"/>
            <a:ext cx="1719360" cy="50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609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  <p:sldLayoutId id="2147484089" r:id="rId12"/>
    <p:sldLayoutId id="2147484090" r:id="rId13"/>
    <p:sldLayoutId id="2147484091" r:id="rId14"/>
    <p:sldLayoutId id="2147484092" r:id="rId15"/>
    <p:sldLayoutId id="2147484093" r:id="rId16"/>
    <p:sldLayoutId id="2147484094" r:id="rId17"/>
    <p:sldLayoutId id="2147484095" r:id="rId18"/>
    <p:sldLayoutId id="2147484096" r:id="rId19"/>
    <p:sldLayoutId id="2147484097" r:id="rId20"/>
    <p:sldLayoutId id="2147484098" r:id="rId21"/>
    <p:sldLayoutId id="2147484099" r:id="rId22"/>
    <p:sldLayoutId id="2147484100" r:id="rId23"/>
    <p:sldLayoutId id="2147484101" r:id="rId24"/>
    <p:sldLayoutId id="2147484102" r:id="rId25"/>
    <p:sldLayoutId id="2147484103" r:id="rId26"/>
    <p:sldLayoutId id="2147484104" r:id="rId27"/>
    <p:sldLayoutId id="2147484105" r:id="rId28"/>
    <p:sldLayoutId id="2147484106" r:id="rId29"/>
    <p:sldLayoutId id="2147484107" r:id="rId30"/>
    <p:sldLayoutId id="2147484108" r:id="rId31"/>
    <p:sldLayoutId id="2147484109" r:id="rId32"/>
    <p:sldLayoutId id="2147484110" r:id="rId33"/>
    <p:sldLayoutId id="2147484111" r:id="rId34"/>
    <p:sldLayoutId id="2147484112" r:id="rId35"/>
  </p:sldLayoutIdLst>
  <p:hf hdr="0" ftr="0" dt="0"/>
  <p:txStyles>
    <p:titleStyle>
      <a:lvl1pPr algn="l" defTabSz="486950" rtl="0" eaLnBrk="1" fontAlgn="base" hangingPunct="1">
        <a:spcBef>
          <a:spcPct val="0"/>
        </a:spcBef>
        <a:spcAft>
          <a:spcPct val="0"/>
        </a:spcAft>
        <a:defRPr sz="2664" kern="1200" cap="none" spc="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1pPr>
      <a:lvl2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2pPr>
      <a:lvl3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3pPr>
      <a:lvl4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4pPr>
      <a:lvl5pPr algn="l" defTabSz="486950" rtl="0" eaLnBrk="1" fontAlgn="base" hangingPunct="1">
        <a:spcBef>
          <a:spcPct val="0"/>
        </a:spcBef>
        <a:spcAft>
          <a:spcPct val="0"/>
        </a:spcAft>
        <a:defRPr sz="2554">
          <a:solidFill>
            <a:schemeClr val="bg1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5pPr>
      <a:lvl6pPr marL="486950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6pPr>
      <a:lvl7pPr marL="973900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7pPr>
      <a:lvl8pPr marL="1460849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8pPr>
      <a:lvl9pPr marL="1947799" algn="l" defTabSz="486950" rtl="0" eaLnBrk="1" fontAlgn="base" hangingPunct="1">
        <a:spcBef>
          <a:spcPct val="0"/>
        </a:spcBef>
        <a:spcAft>
          <a:spcPct val="0"/>
        </a:spcAft>
        <a:defRPr sz="2769">
          <a:solidFill>
            <a:srgbClr val="002C6C"/>
          </a:solidFill>
          <a:latin typeface="Arial" panose="020B0604020202020204" pitchFamily="34" charset="0"/>
          <a:ea typeface="MS PGothic" panose="020B0600070205080204" charset="-128"/>
          <a:cs typeface="MS PGothic" panose="020B0600070205080204" charset="-128"/>
        </a:defRPr>
      </a:lvl9pPr>
    </p:titleStyle>
    <p:bodyStyle>
      <a:lvl1pPr marL="383492" marR="0" indent="-304149" algn="l" defTabSz="486950" rtl="0" eaLnBrk="1" fontAlgn="base" latinLnBrk="0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Tx/>
        <a:buFont typeface="Arial" panose="020B0604020202020204"/>
        <a:buChar char="•"/>
        <a:defRPr sz="1813" b="0" i="0" kern="1200" baseline="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1pPr>
      <a:lvl2pPr marL="594297" marR="0" indent="-304149" algn="l" defTabSz="486950" rtl="0" eaLnBrk="1" fontAlgn="base" latinLnBrk="0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Tx/>
        <a:buFont typeface="Lucida Grande" panose="02010600030101010101"/>
        <a:buChar char="­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2pPr>
      <a:lvl3pPr marL="878221" indent="-304149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Font typeface="Arial" panose="020B0604020202020204"/>
        <a:buChar char="•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3pPr>
      <a:lvl4pPr marL="1119362" indent="-243475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Font typeface="Lucida Grande" panose="02010600030101010101"/>
        <a:buChar char="­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4pPr>
      <a:lvl5pPr marL="1349613" indent="-243475" algn="l" defTabSz="486950" rtl="0" eaLnBrk="1" fontAlgn="base" hangingPunct="1">
        <a:lnSpc>
          <a:spcPct val="110000"/>
        </a:lnSpc>
        <a:spcBef>
          <a:spcPts val="429"/>
        </a:spcBef>
        <a:spcAft>
          <a:spcPct val="0"/>
        </a:spcAft>
        <a:buClr>
          <a:schemeClr val="accent1"/>
        </a:buClr>
        <a:buSzPct val="100000"/>
        <a:buFont typeface="Arial" panose="020B0604020202020204"/>
        <a:buChar char="•"/>
        <a:defRPr sz="1813" b="0" i="0" kern="1200">
          <a:solidFill>
            <a:schemeClr val="tx2"/>
          </a:solidFill>
          <a:latin typeface="Verdana" panose="020B0604030504040204"/>
          <a:ea typeface="MS PGothic" panose="020B0600070205080204" charset="-128"/>
          <a:cs typeface="Verdana" panose="020B0604030504040204"/>
        </a:defRPr>
      </a:lvl5pPr>
      <a:lvl6pPr marL="2677446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6pPr>
      <a:lvl7pPr marL="3164396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7pPr>
      <a:lvl8pPr marL="3651345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8pPr>
      <a:lvl9pPr marL="4138295" indent="-243475" algn="l" defTabSz="486950" rtl="0" eaLnBrk="1" latinLnBrk="0" hangingPunct="1">
        <a:spcBef>
          <a:spcPct val="20000"/>
        </a:spcBef>
        <a:buFont typeface="Arial" panose="020B0604020202020204"/>
        <a:buChar char="•"/>
        <a:defRPr sz="213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1pPr>
      <a:lvl2pPr marL="48695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2pPr>
      <a:lvl3pPr marL="97390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3pPr>
      <a:lvl4pPr marL="1460849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4pPr>
      <a:lvl5pPr marL="1947799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5pPr>
      <a:lvl6pPr marL="2433971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6pPr>
      <a:lvl7pPr marL="2920921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7pPr>
      <a:lvl8pPr marL="340787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8pPr>
      <a:lvl9pPr marL="3894820" algn="l" defTabSz="486950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9.jpeg"/><Relationship Id="rId11" Type="http://schemas.openxmlformats.org/officeDocument/2006/relationships/image" Target="../media/image54.png"/><Relationship Id="rId5" Type="http://schemas.openxmlformats.org/officeDocument/2006/relationships/image" Target="../media/image48.png"/><Relationship Id="rId10" Type="http://schemas.openxmlformats.org/officeDocument/2006/relationships/image" Target="../media/image53.jpeg"/><Relationship Id="rId4" Type="http://schemas.openxmlformats.org/officeDocument/2006/relationships/image" Target="../media/image47.png"/><Relationship Id="rId9" Type="http://schemas.openxmlformats.org/officeDocument/2006/relationships/image" Target="../media/image5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69.png"/><Relationship Id="rId1" Type="http://schemas.openxmlformats.org/officeDocument/2006/relationships/slideLayout" Target="../slideLayouts/slideLayout227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5" Type="http://schemas.openxmlformats.org/officeDocument/2006/relationships/image" Target="../media/image68.png"/><Relationship Id="rId10" Type="http://schemas.openxmlformats.org/officeDocument/2006/relationships/image" Target="../media/image63.jpeg"/><Relationship Id="rId4" Type="http://schemas.openxmlformats.org/officeDocument/2006/relationships/image" Target="../media/image57.jpeg"/><Relationship Id="rId9" Type="http://schemas.openxmlformats.org/officeDocument/2006/relationships/image" Target="../media/image62.jpeg"/><Relationship Id="rId14" Type="http://schemas.openxmlformats.org/officeDocument/2006/relationships/image" Target="../media/image6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2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8.png"/><Relationship Id="rId3" Type="http://schemas.openxmlformats.org/officeDocument/2006/relationships/tags" Target="../tags/tag5.xml"/><Relationship Id="rId7" Type="http://schemas.openxmlformats.org/officeDocument/2006/relationships/notesSlide" Target="../notesSlides/notesSlide9.xml"/><Relationship Id="rId12" Type="http://schemas.openxmlformats.org/officeDocument/2006/relationships/image" Target="../media/image77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28.xml"/><Relationship Id="rId11" Type="http://schemas.openxmlformats.org/officeDocument/2006/relationships/image" Target="../media/image76.png"/><Relationship Id="rId5" Type="http://schemas.openxmlformats.org/officeDocument/2006/relationships/tags" Target="../tags/tag7.xml"/><Relationship Id="rId15" Type="http://schemas.openxmlformats.org/officeDocument/2006/relationships/image" Target="../media/image80.png"/><Relationship Id="rId10" Type="http://schemas.openxmlformats.org/officeDocument/2006/relationships/image" Target="../media/image75.jpeg"/><Relationship Id="rId4" Type="http://schemas.openxmlformats.org/officeDocument/2006/relationships/tags" Target="../tags/tag6.xml"/><Relationship Id="rId9" Type="http://schemas.openxmlformats.org/officeDocument/2006/relationships/image" Target="../media/image74.jpeg"/><Relationship Id="rId14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5.jpe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7.xml"/><Relationship Id="rId6" Type="http://schemas.openxmlformats.org/officeDocument/2006/relationships/image" Target="../media/image41.jpe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6099" y="3038161"/>
            <a:ext cx="7930602" cy="668081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zh-CN" altLang="en-US" sz="4000" dirty="0">
                <a:ea typeface="+mn-ea"/>
                <a:cs typeface="+mn-ea"/>
                <a:sym typeface="+mn-lt"/>
              </a:rPr>
              <a:t>物品</a:t>
            </a:r>
            <a:r>
              <a:rPr lang="zh-CN" altLang="en-US" sz="4000" dirty="0" smtClean="0">
                <a:ea typeface="+mn-ea"/>
                <a:cs typeface="+mn-ea"/>
                <a:sym typeface="+mn-lt"/>
              </a:rPr>
              <a:t>编码及数据资源情况介绍</a:t>
            </a:r>
            <a:endParaRPr lang="en-GB" sz="4000" dirty="0">
              <a:ea typeface="+mn-ea"/>
              <a:cs typeface="+mn-ea"/>
              <a:sym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 anchor="ctr"/>
          <a:lstStyle/>
          <a:p>
            <a:r>
              <a:rPr lang="zh-CN" altLang="en-US" dirty="0" smtClean="0">
                <a:ea typeface="+mn-ea"/>
                <a:cs typeface="+mn-ea"/>
                <a:sym typeface="+mn-lt"/>
              </a:rPr>
              <a:t>中国物品编码中心</a:t>
            </a:r>
            <a:endParaRPr lang="en-GB" dirty="0">
              <a:ea typeface="+mn-ea"/>
              <a:cs typeface="+mn-ea"/>
              <a:sym typeface="+mn-lt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746320" y="4667588"/>
            <a:ext cx="7917083" cy="188392"/>
          </a:xfrm>
        </p:spPr>
        <p:txBody>
          <a:bodyPr/>
          <a:lstStyle/>
          <a:p>
            <a:r>
              <a:rPr lang="en-GB" dirty="0" smtClean="0">
                <a:ea typeface="+mn-ea"/>
                <a:cs typeface="+mn-ea"/>
                <a:sym typeface="+mn-lt"/>
              </a:rPr>
              <a:t>2024</a:t>
            </a:r>
            <a:r>
              <a:rPr lang="zh-CN" altLang="en-US" dirty="0" smtClean="0">
                <a:ea typeface="+mn-ea"/>
                <a:cs typeface="+mn-ea"/>
                <a:sym typeface="+mn-lt"/>
              </a:rPr>
              <a:t>年</a:t>
            </a:r>
            <a:r>
              <a:rPr lang="en-US" altLang="zh-CN" dirty="0" smtClean="0">
                <a:ea typeface="+mn-ea"/>
                <a:cs typeface="+mn-ea"/>
                <a:sym typeface="+mn-lt"/>
              </a:rPr>
              <a:t>6</a:t>
            </a:r>
            <a:r>
              <a:rPr lang="zh-CN" altLang="en-US" dirty="0" smtClean="0">
                <a:ea typeface="+mn-ea"/>
                <a:cs typeface="+mn-ea"/>
                <a:sym typeface="+mn-lt"/>
              </a:rPr>
              <a:t>月</a:t>
            </a:r>
            <a:endParaRPr lang="en-GB" dirty="0">
              <a:ea typeface="+mn-ea"/>
              <a:cs typeface="+mn-ea"/>
              <a:sym typeface="+mn-lt"/>
            </a:endParaRPr>
          </a:p>
        </p:txBody>
      </p:sp>
      <p:pic>
        <p:nvPicPr>
          <p:cNvPr id="9" name="图片占位符 8"/>
          <p:cNvPicPr>
            <a:picLocks noGrp="1" noChangeAspect="1"/>
          </p:cNvPicPr>
          <p:nvPr>
            <p:ph type="pic" sz="quarter" idx="429496729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3" r="4563"/>
          <a:stretch>
            <a:fillRect/>
          </a:stretch>
        </p:blipFill>
        <p:spPr>
          <a:xfrm>
            <a:off x="8861258" y="2388394"/>
            <a:ext cx="1981200" cy="2788096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98034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矩形 36"/>
          <p:cNvSpPr/>
          <p:nvPr/>
        </p:nvSpPr>
        <p:spPr>
          <a:xfrm>
            <a:off x="144018" y="1407502"/>
            <a:ext cx="10920410" cy="486081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 dirty="0">
              <a:solidFill>
                <a:prstClr val="white"/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4271276" y="4287441"/>
            <a:ext cx="6394811" cy="16818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9" name="Title 6"/>
          <p:cNvSpPr>
            <a:spLocks noGrp="1"/>
          </p:cNvSpPr>
          <p:nvPr/>
        </p:nvSpPr>
        <p:spPr>
          <a:xfrm>
            <a:off x="602122" y="320159"/>
            <a:ext cx="9871235" cy="83256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56002" rIns="112003" bIns="56002" numCol="1" anchor="ctr" anchorCtr="0" compatLnSpc="1"/>
          <a:lstStyle>
            <a:lvl1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175" kern="1200" cap="none" spc="0">
                <a:solidFill>
                  <a:schemeClr val="tx2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1pPr>
            <a:lvl2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2pPr>
            <a:lvl3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3pPr>
            <a:lvl4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4pPr>
            <a:lvl5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5pPr>
            <a:lvl6pPr marL="39751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6pPr>
            <a:lvl7pPr marL="79502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7pPr>
            <a:lvl8pPr marL="119253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8pPr>
            <a:lvl9pPr marL="159004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defTabSz="419943"/>
            <a:r>
              <a:rPr lang="zh-CN" altLang="en-US" sz="3200" b="1" dirty="0">
                <a:latin typeface="+mn-lt"/>
                <a:ea typeface="+mj-ea"/>
                <a:sym typeface="+mn-lt"/>
              </a:rPr>
              <a:t>进口商品数据采集</a:t>
            </a:r>
            <a:endParaRPr lang="en-GB" sz="3200" b="1" dirty="0">
              <a:latin typeface="+mn-lt"/>
              <a:ea typeface="+mj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48838" y="1392536"/>
            <a:ext cx="7999332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20140"/>
            <a:r>
              <a:rPr kumimoji="1" lang="zh-CN" altLang="en-US" sz="1960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进口</a:t>
            </a:r>
            <a:r>
              <a:rPr kumimoji="1" lang="zh-CN" altLang="en-US" sz="1960" b="1" dirty="0" smtClean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商品信息</a:t>
            </a:r>
            <a:r>
              <a:rPr kumimoji="1" lang="en-US" altLang="zh-CN" sz="1960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——</a:t>
            </a:r>
            <a:r>
              <a:rPr kumimoji="1" lang="zh-CN" altLang="en-US" sz="1960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进口商自主填报</a:t>
            </a:r>
            <a:r>
              <a:rPr kumimoji="1" lang="zh-CN" altLang="en-US" sz="1960" b="1" dirty="0" smtClean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，编码中心审核</a:t>
            </a:r>
            <a:r>
              <a:rPr kumimoji="1" lang="en-US" altLang="zh-CN" sz="1960" b="1" dirty="0" smtClean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+</a:t>
            </a:r>
            <a:r>
              <a:rPr kumimoji="1" lang="zh-CN" altLang="en-US" sz="1960" b="1" dirty="0" smtClean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数据验证</a:t>
            </a:r>
            <a:endParaRPr kumimoji="1" lang="zh-CN" altLang="en-US" sz="1960" b="1" dirty="0">
              <a:solidFill>
                <a:srgbClr val="454545"/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20140" fontAlgn="base">
              <a:spcAft>
                <a:spcPct val="0"/>
              </a:spcAft>
              <a:defRPr/>
            </a:pPr>
            <a:fld id="{4472AB7F-E8D0-4874-A9B8-335B68DC5F05}" type="slidenum">
              <a:rPr lang="en-GB">
                <a:latin typeface="微软雅黑"/>
                <a:ea typeface="微软雅黑"/>
                <a:cs typeface="+mn-ea"/>
                <a:sym typeface="+mn-lt"/>
              </a:rPr>
              <a:pPr defTabSz="1120140" fontAlgn="base">
                <a:spcAft>
                  <a:spcPct val="0"/>
                </a:spcAft>
                <a:defRPr/>
              </a:pPr>
              <a:t>10</a:t>
            </a:fld>
            <a:endParaRPr lang="en-GB" dirty="0"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602123" y="4287441"/>
            <a:ext cx="3571253" cy="1681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5476880" y="1950703"/>
            <a:ext cx="5177195" cy="22544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5474174" y="1944572"/>
            <a:ext cx="1269086" cy="321574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348" b="1" dirty="0">
                <a:solidFill>
                  <a:prstClr val="white"/>
                </a:solidFill>
                <a:latin typeface="微软雅黑"/>
                <a:ea typeface="微软雅黑"/>
                <a:cs typeface="+mn-ea"/>
                <a:sym typeface="+mn-lt"/>
              </a:rPr>
              <a:t>采集内容</a:t>
            </a:r>
          </a:p>
        </p:txBody>
      </p:sp>
      <p:sp>
        <p:nvSpPr>
          <p:cNvPr id="50" name="矩形 49"/>
          <p:cNvSpPr/>
          <p:nvPr/>
        </p:nvSpPr>
        <p:spPr>
          <a:xfrm>
            <a:off x="7055689" y="2042901"/>
            <a:ext cx="1263761" cy="39903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103" b="1" dirty="0">
                <a:solidFill>
                  <a:srgbClr val="454545">
                    <a:lumMod val="75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中文属性信息（</a:t>
            </a:r>
            <a:r>
              <a:rPr lang="en-US" altLang="zh-CN" sz="1103" b="1" dirty="0">
                <a:solidFill>
                  <a:srgbClr val="454545">
                    <a:lumMod val="75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19</a:t>
            </a:r>
            <a:r>
              <a:rPr lang="zh-CN" altLang="en-US" sz="1103" b="1" dirty="0">
                <a:solidFill>
                  <a:srgbClr val="454545">
                    <a:lumMod val="75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项）</a:t>
            </a:r>
          </a:p>
        </p:txBody>
      </p:sp>
      <p:sp>
        <p:nvSpPr>
          <p:cNvPr id="52" name="矩形 51"/>
          <p:cNvSpPr/>
          <p:nvPr/>
        </p:nvSpPr>
        <p:spPr>
          <a:xfrm>
            <a:off x="7055689" y="2550372"/>
            <a:ext cx="1263761" cy="38235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103" b="1" dirty="0">
                <a:solidFill>
                  <a:srgbClr val="454545">
                    <a:lumMod val="75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国际属性信息</a:t>
            </a:r>
            <a:endParaRPr lang="en-US" altLang="zh-CN" sz="1103" b="1" dirty="0">
              <a:solidFill>
                <a:srgbClr val="454545">
                  <a:lumMod val="75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algn="ctr" defTabSz="1120140"/>
            <a:r>
              <a:rPr lang="zh-CN" altLang="en-US" sz="1103" b="1" dirty="0">
                <a:solidFill>
                  <a:srgbClr val="454545">
                    <a:lumMod val="75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（</a:t>
            </a:r>
            <a:r>
              <a:rPr lang="en-US" altLang="zh-CN" sz="1103" b="1" dirty="0">
                <a:solidFill>
                  <a:srgbClr val="454545">
                    <a:lumMod val="75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5</a:t>
            </a:r>
            <a:r>
              <a:rPr lang="zh-CN" altLang="en-US" sz="1103" b="1" dirty="0">
                <a:solidFill>
                  <a:srgbClr val="454545">
                    <a:lumMod val="75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项）</a:t>
            </a:r>
          </a:p>
        </p:txBody>
      </p:sp>
      <p:sp>
        <p:nvSpPr>
          <p:cNvPr id="55" name="右箭头 54"/>
          <p:cNvSpPr/>
          <p:nvPr/>
        </p:nvSpPr>
        <p:spPr>
          <a:xfrm>
            <a:off x="8403734" y="2165378"/>
            <a:ext cx="142989" cy="278177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8601454" y="2042902"/>
            <a:ext cx="1890620" cy="2095775"/>
          </a:xfrm>
          <a:prstGeom prst="rect">
            <a:avLst/>
          </a:prstGeom>
          <a:noFill/>
          <a:ln w="3175">
            <a:solidFill>
              <a:schemeClr val="accent1">
                <a:lumMod val="75000"/>
              </a:schemeClr>
            </a:solidFill>
            <a:prstDash val="lgDash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商品条码             进口商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品牌                    原产地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子品牌                 包装类型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商品特征              商品短描述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功能名称              保质期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产品名称              深度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产品分类              宽度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净含量                 高度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规格                    产品图片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净重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7089297" y="3195502"/>
            <a:ext cx="1414058" cy="943174"/>
          </a:xfrm>
          <a:prstGeom prst="rect">
            <a:avLst/>
          </a:prstGeom>
          <a:noFill/>
          <a:ln w="3175">
            <a:solidFill>
              <a:schemeClr val="accent1">
                <a:lumMod val="75000"/>
              </a:schemeClr>
            </a:solidFill>
            <a:prstDash val="lgDash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产品名称（原文）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规格（原文）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品牌（原文）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品牌商（原文）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  <a:p>
            <a:pPr defTabSz="1120140">
              <a:lnSpc>
                <a:spcPts val="1470"/>
              </a:lnSpc>
            </a:pPr>
            <a:r>
              <a:rPr lang="zh-CN" altLang="en-US" sz="980" dirty="0">
                <a:solidFill>
                  <a:srgbClr val="888B8D">
                    <a:lumMod val="50000"/>
                  </a:srgbClr>
                </a:solidFill>
                <a:latin typeface="微软雅黑"/>
                <a:ea typeface="微软雅黑"/>
                <a:cs typeface="+mn-ea"/>
                <a:sym typeface="+mn-lt"/>
              </a:rPr>
              <a:t>品牌商地址（原文）</a:t>
            </a:r>
            <a:endParaRPr lang="en-US" altLang="zh-CN" sz="980" dirty="0">
              <a:solidFill>
                <a:srgbClr val="888B8D">
                  <a:lumMod val="50000"/>
                </a:srgbClr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63" name="下箭头 62"/>
          <p:cNvSpPr/>
          <p:nvPr/>
        </p:nvSpPr>
        <p:spPr>
          <a:xfrm>
            <a:off x="7627403" y="3011986"/>
            <a:ext cx="273883" cy="164320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4344604" y="4353437"/>
            <a:ext cx="1259619" cy="310699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348" b="1" dirty="0">
                <a:solidFill>
                  <a:prstClr val="white"/>
                </a:solidFill>
                <a:latin typeface="微软雅黑"/>
                <a:ea typeface="微软雅黑"/>
                <a:cs typeface="+mn-ea"/>
                <a:sym typeface="+mn-lt"/>
              </a:rPr>
              <a:t>工作措施</a:t>
            </a:r>
          </a:p>
        </p:txBody>
      </p:sp>
      <p:sp>
        <p:nvSpPr>
          <p:cNvPr id="66" name="矩形 65"/>
          <p:cNvSpPr/>
          <p:nvPr/>
        </p:nvSpPr>
        <p:spPr>
          <a:xfrm>
            <a:off x="9374578" y="5709752"/>
            <a:ext cx="801628" cy="259489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103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全网查询</a:t>
            </a:r>
          </a:p>
        </p:txBody>
      </p:sp>
      <p:pic>
        <p:nvPicPr>
          <p:cNvPr id="67" name="图片 6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174" y="2430359"/>
            <a:ext cx="894322" cy="122373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68" name="图片 6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173" y="3703404"/>
            <a:ext cx="912047" cy="405296"/>
          </a:xfrm>
          <a:prstGeom prst="rect">
            <a:avLst/>
          </a:prstGeom>
        </p:spPr>
      </p:pic>
      <p:sp>
        <p:nvSpPr>
          <p:cNvPr id="69" name="矩形 68"/>
          <p:cNvSpPr/>
          <p:nvPr/>
        </p:nvSpPr>
        <p:spPr>
          <a:xfrm>
            <a:off x="8304357" y="5723885"/>
            <a:ext cx="801628" cy="259489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103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通报凭证</a:t>
            </a:r>
          </a:p>
        </p:txBody>
      </p:sp>
      <p:pic>
        <p:nvPicPr>
          <p:cNvPr id="70" name="图片 6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8337" y="4839675"/>
            <a:ext cx="868047" cy="868047"/>
          </a:xfrm>
          <a:prstGeom prst="rect">
            <a:avLst/>
          </a:prstGeom>
        </p:spPr>
      </p:pic>
      <p:sp>
        <p:nvSpPr>
          <p:cNvPr id="71" name="矩形 70"/>
          <p:cNvSpPr/>
          <p:nvPr/>
        </p:nvSpPr>
        <p:spPr>
          <a:xfrm>
            <a:off x="7164756" y="5689059"/>
            <a:ext cx="801628" cy="259489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103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政府部门</a:t>
            </a:r>
          </a:p>
        </p:txBody>
      </p:sp>
      <p:sp>
        <p:nvSpPr>
          <p:cNvPr id="72" name="矩形 71"/>
          <p:cNvSpPr/>
          <p:nvPr/>
        </p:nvSpPr>
        <p:spPr>
          <a:xfrm>
            <a:off x="5733047" y="5668132"/>
            <a:ext cx="953843" cy="259489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103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国际验证</a:t>
            </a:r>
          </a:p>
        </p:txBody>
      </p:sp>
      <p:grpSp>
        <p:nvGrpSpPr>
          <p:cNvPr id="79" name="组合 78"/>
          <p:cNvGrpSpPr/>
          <p:nvPr/>
        </p:nvGrpSpPr>
        <p:grpSpPr>
          <a:xfrm>
            <a:off x="9305041" y="4653862"/>
            <a:ext cx="994449" cy="957869"/>
            <a:chOff x="8260581" y="201845"/>
            <a:chExt cx="878449" cy="903395"/>
          </a:xfrm>
        </p:grpSpPr>
        <p:grpSp>
          <p:nvGrpSpPr>
            <p:cNvPr id="80" name="组合 79"/>
            <p:cNvGrpSpPr/>
            <p:nvPr/>
          </p:nvGrpSpPr>
          <p:grpSpPr>
            <a:xfrm>
              <a:off x="8260581" y="201845"/>
              <a:ext cx="878449" cy="903395"/>
              <a:chOff x="3939494" y="18770"/>
              <a:chExt cx="1340754" cy="1340754"/>
            </a:xfrm>
          </p:grpSpPr>
          <p:pic>
            <p:nvPicPr>
              <p:cNvPr id="82" name="图片 81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9494" y="18770"/>
                <a:ext cx="1340754" cy="1340754"/>
              </a:xfrm>
              <a:prstGeom prst="rect">
                <a:avLst/>
              </a:prstGeom>
            </p:spPr>
          </p:pic>
          <p:pic>
            <p:nvPicPr>
              <p:cNvPr id="83" name="图片 82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97655" y="199033"/>
                <a:ext cx="633971" cy="955068"/>
              </a:xfrm>
              <a:prstGeom prst="rect">
                <a:avLst/>
              </a:prstGeom>
            </p:spPr>
          </p:pic>
        </p:grpSp>
        <p:pic>
          <p:nvPicPr>
            <p:cNvPr id="81" name="图片 8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89187" y="523968"/>
              <a:ext cx="442859" cy="442859"/>
            </a:xfrm>
            <a:prstGeom prst="rect">
              <a:avLst/>
            </a:prstGeom>
          </p:spPr>
        </p:pic>
      </p:grpSp>
      <p:pic>
        <p:nvPicPr>
          <p:cNvPr id="84" name="图片 8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6253" y="4798709"/>
            <a:ext cx="650035" cy="919382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</p:pic>
      <p:pic>
        <p:nvPicPr>
          <p:cNvPr id="85" name="图片 8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9"/>
          <a:stretch/>
        </p:blipFill>
        <p:spPr>
          <a:xfrm>
            <a:off x="5604223" y="4851218"/>
            <a:ext cx="1237962" cy="791240"/>
          </a:xfrm>
          <a:prstGeom prst="roundRect">
            <a:avLst/>
          </a:prstGeom>
          <a:ln w="28575">
            <a:solidFill>
              <a:schemeClr val="bg1">
                <a:lumMod val="85000"/>
              </a:schemeClr>
            </a:solidFill>
          </a:ln>
        </p:spPr>
      </p:pic>
      <p:sp>
        <p:nvSpPr>
          <p:cNvPr id="86" name="文本框 85"/>
          <p:cNvSpPr txBox="1"/>
          <p:nvPr/>
        </p:nvSpPr>
        <p:spPr>
          <a:xfrm>
            <a:off x="2065720" y="5020714"/>
            <a:ext cx="977301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20140"/>
            <a:r>
              <a:rPr lang="zh-CN" altLang="en-US" sz="1470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进口商</a:t>
            </a:r>
          </a:p>
        </p:txBody>
      </p:sp>
      <p:sp>
        <p:nvSpPr>
          <p:cNvPr id="87" name="矩形 86"/>
          <p:cNvSpPr/>
          <p:nvPr/>
        </p:nvSpPr>
        <p:spPr>
          <a:xfrm>
            <a:off x="700023" y="4379380"/>
            <a:ext cx="1432407" cy="286057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348" b="1" dirty="0">
                <a:solidFill>
                  <a:prstClr val="white"/>
                </a:solidFill>
                <a:latin typeface="微软雅黑"/>
                <a:ea typeface="微软雅黑"/>
                <a:cs typeface="+mn-ea"/>
                <a:sym typeface="+mn-lt"/>
              </a:rPr>
              <a:t>采集对象</a:t>
            </a:r>
          </a:p>
        </p:txBody>
      </p:sp>
      <p:pic>
        <p:nvPicPr>
          <p:cNvPr id="88" name="Picture 29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409700" y="5006552"/>
            <a:ext cx="566649" cy="39345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9" name="TextBox 4"/>
          <p:cNvSpPr txBox="1"/>
          <p:nvPr/>
        </p:nvSpPr>
        <p:spPr>
          <a:xfrm>
            <a:off x="6507488" y="4351687"/>
            <a:ext cx="3741412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20140"/>
            <a:r>
              <a:rPr lang="zh-CN" altLang="en-US" sz="147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147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审核</a:t>
            </a:r>
            <a:r>
              <a:rPr lang="en-US" altLang="zh-CN" sz="147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7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验证</a:t>
            </a:r>
            <a:r>
              <a:rPr lang="en-US" altLang="zh-CN" sz="147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7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对外</a:t>
            </a:r>
            <a:r>
              <a:rPr lang="zh-CN" altLang="en-US" sz="1470" b="1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endParaRPr lang="zh-CN" altLang="en-US" sz="147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46428" y="4856364"/>
            <a:ext cx="723802" cy="771525"/>
          </a:xfrm>
          <a:prstGeom prst="rect">
            <a:avLst/>
          </a:prstGeom>
        </p:spPr>
      </p:pic>
      <p:sp>
        <p:nvSpPr>
          <p:cNvPr id="43" name="矩形 42"/>
          <p:cNvSpPr/>
          <p:nvPr/>
        </p:nvSpPr>
        <p:spPr>
          <a:xfrm>
            <a:off x="4598444" y="5644214"/>
            <a:ext cx="801628" cy="259489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103" b="1" dirty="0" smtClean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数据审核</a:t>
            </a:r>
            <a:endParaRPr lang="zh-CN" altLang="en-US" sz="1103" b="1" dirty="0">
              <a:solidFill>
                <a:srgbClr val="454545"/>
              </a:solidFill>
              <a:latin typeface="微软雅黑"/>
              <a:ea typeface="微软雅黑"/>
              <a:cs typeface="+mn-ea"/>
              <a:sym typeface="+mn-lt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385" y="1846596"/>
            <a:ext cx="4799845" cy="239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589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/>
        </p:nvSpPr>
        <p:spPr>
          <a:xfrm>
            <a:off x="127130" y="1310955"/>
            <a:ext cx="11053380" cy="486081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5413543" y="4839578"/>
            <a:ext cx="5407889" cy="1248045"/>
          </a:xfrm>
          <a:prstGeom prst="rect">
            <a:avLst/>
          </a:prstGeom>
          <a:solidFill>
            <a:srgbClr val="FEF0D8"/>
          </a:solidFill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 defTabSz="1120140"/>
            <a:endParaRPr lang="zh-CN" altLang="en-US" sz="2205" dirty="0">
              <a:solidFill>
                <a:prstClr val="white"/>
              </a:solidFill>
              <a:latin typeface="微软雅黑"/>
              <a:ea typeface="微软雅黑"/>
              <a:sym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88097" y="1349623"/>
            <a:ext cx="6939974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20140">
              <a:spcBef>
                <a:spcPts val="368"/>
              </a:spcBef>
              <a:spcAft>
                <a:spcPts val="368"/>
              </a:spcAft>
            </a:pPr>
            <a:r>
              <a:rPr lang="zh-CN" altLang="en-US" sz="1960" b="1" dirty="0">
                <a:solidFill>
                  <a:srgbClr val="454545"/>
                </a:solidFill>
                <a:latin typeface="微软雅黑"/>
                <a:ea typeface="微软雅黑"/>
                <a:sym typeface="+mn-ea"/>
              </a:rPr>
              <a:t>全</a:t>
            </a:r>
            <a:r>
              <a:rPr lang="zh-CN" altLang="en-US" sz="1960" b="1" dirty="0" smtClean="0">
                <a:solidFill>
                  <a:srgbClr val="454545"/>
                </a:solidFill>
                <a:latin typeface="微软雅黑"/>
                <a:ea typeface="微软雅黑"/>
                <a:sym typeface="+mn-ea"/>
              </a:rPr>
              <a:t>像产品</a:t>
            </a:r>
            <a:r>
              <a:rPr lang="zh-CN" altLang="zh-CN" sz="1960" b="1" dirty="0">
                <a:solidFill>
                  <a:srgbClr val="454545"/>
                </a:solidFill>
                <a:latin typeface="微软雅黑"/>
                <a:ea typeface="微软雅黑"/>
                <a:sym typeface="+mn-ea"/>
              </a:rPr>
              <a:t>数据</a:t>
            </a:r>
            <a:r>
              <a:rPr lang="zh-CN" altLang="en-US" sz="1960" b="1" dirty="0">
                <a:solidFill>
                  <a:srgbClr val="454545"/>
                </a:solidFill>
                <a:latin typeface="微软雅黑"/>
                <a:ea typeface="微软雅黑"/>
                <a:sym typeface="+mn-ea"/>
              </a:rPr>
              <a:t>采集</a:t>
            </a:r>
            <a:r>
              <a:rPr kumimoji="1" lang="en-US" altLang="zh-CN" sz="1960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——</a:t>
            </a:r>
            <a:r>
              <a:rPr kumimoji="1" lang="zh-CN" altLang="en-US" sz="1960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编码中心</a:t>
            </a:r>
            <a:r>
              <a:rPr kumimoji="1" lang="zh-CN" altLang="en-US" sz="1960" b="1" dirty="0" smtClean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采编，</a:t>
            </a:r>
            <a:r>
              <a:rPr kumimoji="1" lang="zh-CN" altLang="en-US" sz="1960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全维数据画像</a:t>
            </a:r>
          </a:p>
        </p:txBody>
      </p:sp>
      <p:sp>
        <p:nvSpPr>
          <p:cNvPr id="17" name="Title 6"/>
          <p:cNvSpPr>
            <a:spLocks noGrp="1"/>
          </p:cNvSpPr>
          <p:nvPr/>
        </p:nvSpPr>
        <p:spPr>
          <a:xfrm>
            <a:off x="602122" y="320159"/>
            <a:ext cx="9871235" cy="83256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56002" rIns="112003" bIns="56002" numCol="1" anchor="ctr" anchorCtr="0" compatLnSpc="1"/>
          <a:lstStyle>
            <a:lvl1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175" kern="1200" cap="none" spc="0">
                <a:solidFill>
                  <a:schemeClr val="tx2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1pPr>
            <a:lvl2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2pPr>
            <a:lvl3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3pPr>
            <a:lvl4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4pPr>
            <a:lvl5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5pPr>
            <a:lvl6pPr marL="39751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6pPr>
            <a:lvl7pPr marL="79502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7pPr>
            <a:lvl8pPr marL="119253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8pPr>
            <a:lvl9pPr marL="159004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defTabSz="419943"/>
            <a:r>
              <a:rPr lang="zh-CN" altLang="en-US" sz="3200" b="1" dirty="0">
                <a:latin typeface="+mn-lt"/>
                <a:ea typeface="+mj-ea"/>
              </a:rPr>
              <a:t>产品</a:t>
            </a:r>
            <a:r>
              <a:rPr lang="zh-CN" altLang="en-US" sz="3200" b="1" dirty="0" smtClean="0">
                <a:latin typeface="+mn-lt"/>
                <a:ea typeface="+mj-ea"/>
              </a:rPr>
              <a:t>数字</a:t>
            </a:r>
            <a:r>
              <a:rPr lang="zh-CN" altLang="en-US" sz="3200" b="1" dirty="0">
                <a:latin typeface="+mn-lt"/>
                <a:ea typeface="+mj-ea"/>
              </a:rPr>
              <a:t>档案</a:t>
            </a:r>
            <a:endParaRPr lang="en-GB" sz="3200" b="1" dirty="0">
              <a:latin typeface="+mn-lt"/>
              <a:ea typeface="+mj-ea"/>
            </a:endParaRPr>
          </a:p>
        </p:txBody>
      </p:sp>
      <p:sp>
        <p:nvSpPr>
          <p:cNvPr id="30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0348170" y="5830549"/>
            <a:ext cx="303230" cy="183989"/>
          </a:xfrm>
        </p:spPr>
        <p:txBody>
          <a:bodyPr/>
          <a:lstStyle/>
          <a:p>
            <a:pPr defTabSz="1120140" fontAlgn="base">
              <a:spcAft>
                <a:spcPct val="0"/>
              </a:spcAft>
              <a:defRPr/>
            </a:pPr>
            <a:fld id="{4472AB7F-E8D0-4874-A9B8-335B68DC5F05}" type="slidenum">
              <a:rPr lang="en-GB">
                <a:latin typeface="微软雅黑"/>
                <a:ea typeface="微软雅黑"/>
                <a:cs typeface="+mn-ea"/>
                <a:sym typeface="+mn-lt"/>
              </a:rPr>
              <a:pPr defTabSz="1120140" fontAlgn="base">
                <a:spcAft>
                  <a:spcPct val="0"/>
                </a:spcAft>
                <a:defRPr/>
              </a:pPr>
              <a:t>11</a:t>
            </a:fld>
            <a:endParaRPr lang="en-GB" dirty="0">
              <a:latin typeface="微软雅黑"/>
              <a:ea typeface="微软雅黑"/>
              <a:cs typeface="+mn-ea"/>
              <a:sym typeface="+mn-lt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5413542" y="1893627"/>
            <a:ext cx="1546288" cy="2882955"/>
          </a:xfrm>
          <a:prstGeom prst="rect">
            <a:avLst/>
          </a:prstGeom>
          <a:solidFill>
            <a:srgbClr val="FEF0D8"/>
          </a:solidFill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5413542" y="1890499"/>
            <a:ext cx="1546288" cy="322040"/>
          </a:xfrm>
          <a:prstGeom prst="rect">
            <a:avLst/>
          </a:prstGeom>
          <a:solidFill>
            <a:schemeClr val="accent5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348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采集对象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6014925" y="2754120"/>
            <a:ext cx="864339" cy="118237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1120140">
              <a:lnSpc>
                <a:spcPts val="1715"/>
              </a:lnSpc>
            </a:pPr>
            <a:r>
              <a:rPr lang="en-US" altLang="zh-CN" sz="147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 </a:t>
            </a:r>
            <a:r>
              <a:rPr lang="zh-CN" altLang="en-US" sz="1470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生产商 </a:t>
            </a:r>
          </a:p>
          <a:p>
            <a:pPr algn="ctr" defTabSz="1120140">
              <a:lnSpc>
                <a:spcPts val="1715"/>
              </a:lnSpc>
            </a:pPr>
            <a:endParaRPr lang="zh-CN" altLang="en-US" sz="1470" b="1" dirty="0">
              <a:solidFill>
                <a:srgbClr val="454545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algn="ctr" defTabSz="1120140">
              <a:lnSpc>
                <a:spcPts val="1715"/>
              </a:lnSpc>
            </a:pPr>
            <a:r>
              <a:rPr lang="zh-CN" altLang="en-US" sz="1470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分销商</a:t>
            </a:r>
          </a:p>
          <a:p>
            <a:pPr algn="ctr" defTabSz="1120140">
              <a:lnSpc>
                <a:spcPts val="1715"/>
              </a:lnSpc>
            </a:pPr>
            <a:r>
              <a:rPr lang="zh-CN" altLang="en-US" sz="1470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 </a:t>
            </a:r>
          </a:p>
          <a:p>
            <a:pPr algn="ctr" defTabSz="1120140">
              <a:lnSpc>
                <a:spcPts val="1715"/>
              </a:lnSpc>
            </a:pPr>
            <a:r>
              <a:rPr lang="zh-CN" altLang="en-US" sz="1470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零售商</a:t>
            </a:r>
            <a:endParaRPr lang="zh-CN" altLang="en-US" sz="1470" b="1" dirty="0">
              <a:solidFill>
                <a:srgbClr val="454545"/>
              </a:solidFill>
              <a:latin typeface="微软雅黑"/>
              <a:ea typeface="微软雅黑"/>
            </a:endParaRPr>
          </a:p>
        </p:txBody>
      </p:sp>
      <p:pic>
        <p:nvPicPr>
          <p:cNvPr id="52" name="图片 51"/>
          <p:cNvPicPr>
            <a:picLocks noChangeAspect="1"/>
          </p:cNvPicPr>
          <p:nvPr/>
        </p:nvPicPr>
        <p:blipFill>
          <a:blip r:embed="rId3"/>
          <a:srcRect t="5090" r="2849" b="30060"/>
          <a:stretch>
            <a:fillRect/>
          </a:stretch>
        </p:blipFill>
        <p:spPr>
          <a:xfrm>
            <a:off x="5487314" y="3577099"/>
            <a:ext cx="433276" cy="302593"/>
          </a:xfrm>
          <a:prstGeom prst="rect">
            <a:avLst/>
          </a:prstGeom>
        </p:spPr>
      </p:pic>
      <p:pic>
        <p:nvPicPr>
          <p:cNvPr id="53" name="图片 52"/>
          <p:cNvPicPr/>
          <p:nvPr/>
        </p:nvPicPr>
        <p:blipFill>
          <a:blip r:embed="rId4"/>
          <a:stretch>
            <a:fillRect/>
          </a:stretch>
        </p:blipFill>
        <p:spPr>
          <a:xfrm>
            <a:off x="5499760" y="3104151"/>
            <a:ext cx="408384" cy="423942"/>
          </a:xfrm>
          <a:prstGeom prst="ellipse">
            <a:avLst/>
          </a:prstGeom>
          <a:noFill/>
          <a:ln w="9525">
            <a:noFill/>
          </a:ln>
        </p:spPr>
      </p:pic>
      <p:pic>
        <p:nvPicPr>
          <p:cNvPr id="54" name="图片 53"/>
          <p:cNvPicPr>
            <a:picLocks noChangeAspect="1"/>
          </p:cNvPicPr>
          <p:nvPr/>
        </p:nvPicPr>
        <p:blipFill>
          <a:blip r:embed="rId5"/>
          <a:srcRect l="1191" t="21072" r="4765" b="10522"/>
          <a:stretch>
            <a:fillRect/>
          </a:stretch>
        </p:blipFill>
        <p:spPr>
          <a:xfrm>
            <a:off x="5487314" y="2682543"/>
            <a:ext cx="483060" cy="372602"/>
          </a:xfrm>
          <a:prstGeom prst="rect">
            <a:avLst/>
          </a:prstGeom>
        </p:spPr>
      </p:pic>
      <p:sp>
        <p:nvSpPr>
          <p:cNvPr id="56" name="矩形 55"/>
          <p:cNvSpPr/>
          <p:nvPr/>
        </p:nvSpPr>
        <p:spPr>
          <a:xfrm>
            <a:off x="5418095" y="4840141"/>
            <a:ext cx="1568974" cy="322040"/>
          </a:xfrm>
          <a:prstGeom prst="rect">
            <a:avLst/>
          </a:prstGeom>
          <a:solidFill>
            <a:schemeClr val="accent5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 defTabSz="1120140"/>
            <a:r>
              <a:rPr lang="zh-CN" altLang="en-US" sz="1348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工作措施</a:t>
            </a:r>
          </a:p>
        </p:txBody>
      </p:sp>
      <p:sp>
        <p:nvSpPr>
          <p:cNvPr id="57" name="矩形 56"/>
          <p:cNvSpPr/>
          <p:nvPr/>
        </p:nvSpPr>
        <p:spPr>
          <a:xfrm>
            <a:off x="7033906" y="1894126"/>
            <a:ext cx="3787525" cy="2882457"/>
          </a:xfrm>
          <a:prstGeom prst="rect">
            <a:avLst/>
          </a:prstGeom>
          <a:solidFill>
            <a:srgbClr val="FEF0D8"/>
          </a:solidFill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  <a:sym typeface="+mn-ea"/>
            </a:endParaRPr>
          </a:p>
        </p:txBody>
      </p:sp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4792" y="2261079"/>
            <a:ext cx="2405530" cy="2429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矩形 58"/>
          <p:cNvSpPr/>
          <p:nvPr/>
        </p:nvSpPr>
        <p:spPr>
          <a:xfrm>
            <a:off x="9603050" y="2261079"/>
            <a:ext cx="1138938" cy="2451234"/>
          </a:xfrm>
          <a:prstGeom prst="rect">
            <a:avLst/>
          </a:prstGeom>
          <a:noFill/>
          <a:ln w="25400">
            <a:solidFill>
              <a:schemeClr val="accent5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en-US" altLang="zh-CN" sz="1225" b="1" dirty="0">
              <a:solidFill>
                <a:srgbClr val="45454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1120140"/>
            <a:r>
              <a:rPr lang="zh-CN" altLang="en-US" sz="1103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属性信息</a:t>
            </a:r>
            <a:r>
              <a:rPr lang="en-US" altLang="zh-CN" sz="1103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60</a:t>
            </a:r>
            <a:r>
              <a:rPr lang="zh-CN" altLang="en-US" sz="1103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项</a:t>
            </a:r>
            <a:endParaRPr lang="en-US" altLang="zh-CN" sz="1103" dirty="0">
              <a:solidFill>
                <a:srgbClr val="45454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44339" algn="ctr" defTabSz="1120140">
              <a:lnSpc>
                <a:spcPct val="125000"/>
              </a:lnSpc>
            </a:pPr>
            <a:endParaRPr lang="zh-CN" altLang="en-US" sz="980" dirty="0">
              <a:solidFill>
                <a:srgbClr val="45454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44339" algn="ctr" defTabSz="1120140">
              <a:lnSpc>
                <a:spcPct val="125000"/>
              </a:lnSpc>
            </a:pPr>
            <a:r>
              <a:rPr lang="zh-CN" altLang="en-US" sz="98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商品描述</a:t>
            </a:r>
            <a:endParaRPr lang="en-US" altLang="zh-CN" sz="980" dirty="0">
              <a:solidFill>
                <a:srgbClr val="45454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44339" algn="ctr" defTabSz="1120140">
              <a:lnSpc>
                <a:spcPct val="125000"/>
              </a:lnSpc>
            </a:pPr>
            <a:r>
              <a:rPr lang="zh-CN" altLang="en-US" sz="98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规格信息</a:t>
            </a:r>
            <a:endParaRPr lang="en-US" altLang="zh-CN" sz="980" dirty="0">
              <a:solidFill>
                <a:srgbClr val="45454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44339" algn="ctr" defTabSz="1120140">
              <a:lnSpc>
                <a:spcPct val="125000"/>
              </a:lnSpc>
            </a:pPr>
            <a:r>
              <a:rPr lang="zh-CN" altLang="en-US" sz="98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图片信息</a:t>
            </a:r>
            <a:endParaRPr lang="en-US" altLang="zh-CN" sz="980" dirty="0">
              <a:solidFill>
                <a:srgbClr val="45454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44339" algn="ctr" defTabSz="1120140">
              <a:lnSpc>
                <a:spcPct val="125000"/>
              </a:lnSpc>
            </a:pPr>
            <a:r>
              <a:rPr lang="zh-CN" altLang="en-US" sz="98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尺寸信息</a:t>
            </a:r>
            <a:endParaRPr lang="en-US" altLang="zh-CN" sz="980" dirty="0">
              <a:solidFill>
                <a:srgbClr val="45454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44339" algn="ctr" defTabSz="1120140">
              <a:lnSpc>
                <a:spcPct val="125000"/>
              </a:lnSpc>
            </a:pPr>
            <a:r>
              <a:rPr lang="zh-CN" altLang="en-US" sz="98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成份信息</a:t>
            </a:r>
            <a:endParaRPr lang="en-US" altLang="zh-CN" sz="980" dirty="0">
              <a:solidFill>
                <a:srgbClr val="45454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44339" algn="ctr" defTabSz="1120140">
              <a:lnSpc>
                <a:spcPct val="125000"/>
              </a:lnSpc>
            </a:pPr>
            <a:r>
              <a:rPr lang="zh-CN" altLang="en-US" sz="98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储藏信息</a:t>
            </a:r>
          </a:p>
          <a:p>
            <a:pPr marL="44339" algn="ctr" defTabSz="1120140">
              <a:lnSpc>
                <a:spcPct val="125000"/>
              </a:lnSpc>
            </a:pPr>
            <a:r>
              <a:rPr lang="zh-CN" altLang="en-US" sz="98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重量信息</a:t>
            </a:r>
          </a:p>
          <a:p>
            <a:pPr marL="44339" algn="ctr" defTabSz="1120140">
              <a:lnSpc>
                <a:spcPct val="125000"/>
              </a:lnSpc>
            </a:pPr>
            <a:r>
              <a:rPr lang="zh-CN" altLang="en-US" sz="98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特征属性</a:t>
            </a:r>
          </a:p>
          <a:p>
            <a:pPr marL="44339" algn="ctr" defTabSz="1120140">
              <a:lnSpc>
                <a:spcPct val="125000"/>
              </a:lnSpc>
            </a:pPr>
            <a:r>
              <a:rPr lang="en-US" altLang="zh-CN" sz="980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......</a:t>
            </a:r>
          </a:p>
          <a:p>
            <a:pPr marL="44339" defTabSz="1120140">
              <a:lnSpc>
                <a:spcPct val="125000"/>
              </a:lnSpc>
            </a:pPr>
            <a:endParaRPr lang="zh-CN" altLang="en-US" sz="980" dirty="0">
              <a:solidFill>
                <a:srgbClr val="454545"/>
              </a:solidFill>
              <a:latin typeface="微软雅黑"/>
              <a:ea typeface="微软雅黑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7035566" y="1893626"/>
            <a:ext cx="1376061" cy="322040"/>
          </a:xfrm>
          <a:prstGeom prst="rect">
            <a:avLst/>
          </a:prstGeom>
          <a:solidFill>
            <a:schemeClr val="accent5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 defTabSz="1120140"/>
            <a:r>
              <a:rPr lang="zh-CN" altLang="en-US" sz="1348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采集内容</a:t>
            </a:r>
          </a:p>
        </p:txBody>
      </p:sp>
      <p:grpSp>
        <p:nvGrpSpPr>
          <p:cNvPr id="61" name="组合 60"/>
          <p:cNvGrpSpPr/>
          <p:nvPr/>
        </p:nvGrpSpPr>
        <p:grpSpPr>
          <a:xfrm>
            <a:off x="9339884" y="5324840"/>
            <a:ext cx="1173016" cy="714601"/>
            <a:chOff x="7118986" y="4042796"/>
            <a:chExt cx="1230664" cy="780352"/>
          </a:xfrm>
        </p:grpSpPr>
        <p:pic>
          <p:nvPicPr>
            <p:cNvPr id="62" name="图片 6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78765" y="4535199"/>
              <a:ext cx="670885" cy="282726"/>
            </a:xfrm>
            <a:prstGeom prst="rect">
              <a:avLst/>
            </a:prstGeom>
          </p:spPr>
        </p:pic>
        <p:pic>
          <p:nvPicPr>
            <p:cNvPr id="63" name="图片 6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31109" y="4042796"/>
              <a:ext cx="615160" cy="418015"/>
            </a:xfrm>
            <a:prstGeom prst="rect">
              <a:avLst/>
            </a:prstGeom>
          </p:spPr>
        </p:pic>
        <p:pic>
          <p:nvPicPr>
            <p:cNvPr id="64" name="图片 63"/>
            <p:cNvPicPr/>
            <p:nvPr/>
          </p:nvPicPr>
          <p:blipFill>
            <a:blip r:embed="rId9"/>
            <a:srcRect l="4922" t="8589" r="10047" b="8843"/>
            <a:stretch>
              <a:fillRect/>
            </a:stretch>
          </p:blipFill>
          <p:spPr>
            <a:xfrm>
              <a:off x="7118986" y="4045605"/>
              <a:ext cx="559779" cy="361542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65" name="图片 64"/>
            <p:cNvPicPr/>
            <p:nvPr/>
          </p:nvPicPr>
          <p:blipFill>
            <a:blip r:embed="rId10"/>
            <a:stretch>
              <a:fillRect/>
            </a:stretch>
          </p:blipFill>
          <p:spPr>
            <a:xfrm>
              <a:off x="7120039" y="4428645"/>
              <a:ext cx="455930" cy="394503"/>
            </a:xfrm>
            <a:prstGeom prst="rect">
              <a:avLst/>
            </a:prstGeom>
            <a:noFill/>
            <a:ln w="9525">
              <a:noFill/>
            </a:ln>
          </p:spPr>
        </p:pic>
      </p:grpSp>
      <p:pic>
        <p:nvPicPr>
          <p:cNvPr id="66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25" t="8260" r="12682" b="8260"/>
          <a:stretch>
            <a:fillRect/>
          </a:stretch>
        </p:blipFill>
        <p:spPr bwMode="auto">
          <a:xfrm>
            <a:off x="7153872" y="5263905"/>
            <a:ext cx="382715" cy="463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4" t="3491" r="6751" b="5138"/>
          <a:stretch>
            <a:fillRect/>
          </a:stretch>
        </p:blipFill>
        <p:spPr bwMode="auto">
          <a:xfrm>
            <a:off x="7862516" y="5267794"/>
            <a:ext cx="511064" cy="508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14"/>
          <a:stretch>
            <a:fillRect/>
          </a:stretch>
        </p:blipFill>
        <p:spPr bwMode="auto">
          <a:xfrm>
            <a:off x="8730624" y="5253792"/>
            <a:ext cx="454279" cy="444945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TextBox 4"/>
          <p:cNvSpPr txBox="1"/>
          <p:nvPr/>
        </p:nvSpPr>
        <p:spPr>
          <a:xfrm>
            <a:off x="7625581" y="4864603"/>
            <a:ext cx="2210086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20140"/>
            <a:r>
              <a:rPr lang="zh-CN" altLang="en-US" sz="1470" b="1" dirty="0" smtClean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数据审核</a:t>
            </a:r>
            <a:r>
              <a:rPr lang="en-US" altLang="zh-CN" sz="1470" b="1" dirty="0" smtClean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+</a:t>
            </a:r>
            <a:r>
              <a:rPr lang="zh-CN" altLang="en-US" sz="1470" b="1" dirty="0" smtClean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零售</a:t>
            </a:r>
            <a:r>
              <a:rPr lang="zh-CN" altLang="en-US" sz="1470" b="1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合作带动</a:t>
            </a:r>
          </a:p>
        </p:txBody>
      </p:sp>
      <p:sp>
        <p:nvSpPr>
          <p:cNvPr id="70" name="TextBox 5"/>
          <p:cNvSpPr txBox="1"/>
          <p:nvPr/>
        </p:nvSpPr>
        <p:spPr>
          <a:xfrm>
            <a:off x="6936184" y="5790527"/>
            <a:ext cx="2703116" cy="280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20140"/>
            <a:r>
              <a:rPr lang="zh-CN" altLang="en-US" sz="1225" dirty="0">
                <a:solidFill>
                  <a:srgbClr val="454545"/>
                </a:solidFill>
                <a:latin typeface="微软雅黑" panose="020B0503020204020204" charset="-122"/>
                <a:ea typeface="微软雅黑" panose="020B0503020204020204" charset="-122"/>
              </a:rPr>
              <a:t>商品建品   商品陈列     合规管理</a:t>
            </a:r>
          </a:p>
        </p:txBody>
      </p:sp>
      <p:sp>
        <p:nvSpPr>
          <p:cNvPr id="71" name="矩形 70"/>
          <p:cNvSpPr/>
          <p:nvPr/>
        </p:nvSpPr>
        <p:spPr>
          <a:xfrm>
            <a:off x="9628070" y="2261079"/>
            <a:ext cx="1113917" cy="2393931"/>
          </a:xfrm>
          <a:prstGeom prst="rect">
            <a:avLst/>
          </a:prstGeom>
          <a:noFill/>
          <a:ln w="0" cmpd="sng">
            <a:solidFill>
              <a:schemeClr val="accent5">
                <a:lumMod val="75000"/>
              </a:schemeClr>
            </a:solidFill>
            <a:prstDash val="lg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98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710121" y="5581273"/>
            <a:ext cx="4540456" cy="458168"/>
          </a:xfrm>
          <a:prstGeom prst="rect">
            <a:avLst/>
          </a:prstGeom>
          <a:gradFill>
            <a:gsLst>
              <a:gs pos="0">
                <a:schemeClr val="accent5">
                  <a:tint val="100000"/>
                  <a:shade val="100000"/>
                  <a:satMod val="130000"/>
                </a:schemeClr>
              </a:gs>
              <a:gs pos="100000">
                <a:schemeClr val="accent5">
                  <a:lumMod val="75000"/>
                </a:schemeClr>
              </a:gs>
            </a:gsLst>
          </a:gradFill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 defTabSz="1120140"/>
            <a:r>
              <a:rPr kumimoji="1" lang="zh-CN" altLang="en-US" sz="147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全国</a:t>
            </a:r>
            <a:r>
              <a:rPr kumimoji="1" lang="en-US" altLang="zh-CN" sz="1470" b="1" dirty="0" smtClean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43</a:t>
            </a:r>
            <a:r>
              <a:rPr kumimoji="1" lang="zh-CN" altLang="en-US" sz="1470" b="1" dirty="0" smtClean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家</a:t>
            </a:r>
            <a:r>
              <a:rPr kumimoji="1" lang="zh-CN" altLang="en-US" sz="147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源数据工作室</a:t>
            </a:r>
          </a:p>
        </p:txBody>
      </p:sp>
      <p:grpSp>
        <p:nvGrpSpPr>
          <p:cNvPr id="73" name="组合 72"/>
          <p:cNvGrpSpPr/>
          <p:nvPr/>
        </p:nvGrpSpPr>
        <p:grpSpPr>
          <a:xfrm>
            <a:off x="692814" y="1894127"/>
            <a:ext cx="4557570" cy="3490325"/>
            <a:chOff x="15" y="1979"/>
            <a:chExt cx="7121" cy="5529"/>
          </a:xfrm>
        </p:grpSpPr>
        <p:sp>
          <p:nvSpPr>
            <p:cNvPr id="74" name="矩形 73"/>
            <p:cNvSpPr/>
            <p:nvPr/>
          </p:nvSpPr>
          <p:spPr>
            <a:xfrm>
              <a:off x="15" y="1979"/>
              <a:ext cx="407" cy="2193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254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20140"/>
              <a:r>
                <a:rPr lang="zh-CN" altLang="en-US" sz="1470">
                  <a:solidFill>
                    <a:prstClr val="white"/>
                  </a:solidFill>
                  <a:latin typeface="微软雅黑"/>
                  <a:ea typeface="微软雅黑"/>
                </a:rPr>
                <a:t>青岛工作室</a:t>
              </a:r>
            </a:p>
          </p:txBody>
        </p:sp>
        <p:pic>
          <p:nvPicPr>
            <p:cNvPr id="75" name="图片 74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304" y="1979"/>
              <a:ext cx="2832" cy="3276"/>
            </a:xfrm>
            <a:prstGeom prst="rect">
              <a:avLst/>
            </a:prstGeom>
          </p:spPr>
        </p:pic>
        <p:sp>
          <p:nvSpPr>
            <p:cNvPr id="76" name="矩形 75"/>
            <p:cNvSpPr/>
            <p:nvPr/>
          </p:nvSpPr>
          <p:spPr>
            <a:xfrm>
              <a:off x="3805" y="1979"/>
              <a:ext cx="407" cy="2193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254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20140"/>
              <a:r>
                <a:rPr lang="zh-CN" altLang="en-US" sz="1470">
                  <a:solidFill>
                    <a:prstClr val="white"/>
                  </a:solidFill>
                  <a:latin typeface="微软雅黑"/>
                  <a:ea typeface="微软雅黑"/>
                </a:rPr>
                <a:t>浙江工作室</a:t>
              </a:r>
            </a:p>
          </p:txBody>
        </p:sp>
        <p:pic>
          <p:nvPicPr>
            <p:cNvPr id="77" name="图片 76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88" y="1979"/>
              <a:ext cx="3187" cy="3009"/>
            </a:xfrm>
            <a:prstGeom prst="rect">
              <a:avLst/>
            </a:prstGeom>
          </p:spPr>
        </p:pic>
        <p:pic>
          <p:nvPicPr>
            <p:cNvPr id="78" name="图片 77"/>
            <p:cNvPicPr>
              <a:picLocks noChangeAspect="1"/>
            </p:cNvPicPr>
            <p:nvPr/>
          </p:nvPicPr>
          <p:blipFill>
            <a:blip r:embed="rId16"/>
            <a:srcRect t="7980"/>
            <a:stretch>
              <a:fillRect/>
            </a:stretch>
          </p:blipFill>
          <p:spPr>
            <a:xfrm>
              <a:off x="488" y="5281"/>
              <a:ext cx="3186" cy="2214"/>
            </a:xfrm>
            <a:prstGeom prst="rect">
              <a:avLst/>
            </a:prstGeom>
          </p:spPr>
        </p:pic>
        <p:sp>
          <p:nvSpPr>
            <p:cNvPr id="79" name="矩形 78"/>
            <p:cNvSpPr/>
            <p:nvPr/>
          </p:nvSpPr>
          <p:spPr>
            <a:xfrm>
              <a:off x="15" y="5316"/>
              <a:ext cx="407" cy="2193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254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20140"/>
              <a:r>
                <a:rPr lang="zh-CN" altLang="en-US" sz="1470">
                  <a:solidFill>
                    <a:prstClr val="white"/>
                  </a:solidFill>
                  <a:latin typeface="微软雅黑"/>
                  <a:ea typeface="微软雅黑"/>
                </a:rPr>
                <a:t>河北工作室</a:t>
              </a:r>
            </a:p>
          </p:txBody>
        </p:sp>
        <p:pic>
          <p:nvPicPr>
            <p:cNvPr id="80" name="图片 79"/>
            <p:cNvPicPr>
              <a:picLocks noChangeAspect="1"/>
            </p:cNvPicPr>
            <p:nvPr/>
          </p:nvPicPr>
          <p:blipFill>
            <a:blip r:embed="rId17"/>
            <a:srcRect l="-2709" t="1847" r="15447" b="-1847"/>
            <a:stretch>
              <a:fillRect/>
            </a:stretch>
          </p:blipFill>
          <p:spPr>
            <a:xfrm>
              <a:off x="4304" y="5438"/>
              <a:ext cx="2813" cy="1949"/>
            </a:xfrm>
            <a:prstGeom prst="rect">
              <a:avLst/>
            </a:prstGeom>
          </p:spPr>
        </p:pic>
        <p:sp>
          <p:nvSpPr>
            <p:cNvPr id="81" name="矩形 80"/>
            <p:cNvSpPr/>
            <p:nvPr/>
          </p:nvSpPr>
          <p:spPr>
            <a:xfrm>
              <a:off x="3809" y="5316"/>
              <a:ext cx="407" cy="2193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254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20140"/>
              <a:r>
                <a:rPr lang="zh-CN" altLang="en-US" sz="1470">
                  <a:solidFill>
                    <a:prstClr val="white"/>
                  </a:solidFill>
                  <a:latin typeface="微软雅黑"/>
                  <a:ea typeface="微软雅黑"/>
                </a:rPr>
                <a:t>重庆工作室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6428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8163" y="323891"/>
            <a:ext cx="10098829" cy="832568"/>
          </a:xfrm>
        </p:spPr>
        <p:txBody>
          <a:bodyPr/>
          <a:lstStyle/>
          <a:p>
            <a:pPr defTabSz="419943"/>
            <a:r>
              <a:rPr lang="zh-CN" altLang="en-US" sz="3200" b="1" dirty="0">
                <a:latin typeface="+mn-lt"/>
                <a:ea typeface="+mj-ea"/>
              </a:rPr>
              <a:t>国际共享数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20140" fontAlgn="base">
              <a:spcAft>
                <a:spcPct val="0"/>
              </a:spcAft>
              <a:defRPr/>
            </a:pPr>
            <a:fld id="{4472AB7F-E8D0-4874-A9B8-335B68DC5F05}" type="slidenum">
              <a:rPr lang="en-GB">
                <a:ea typeface="微软雅黑"/>
              </a:rPr>
              <a:pPr defTabSz="1120140" fontAlgn="base">
                <a:spcAft>
                  <a:spcPct val="0"/>
                </a:spcAft>
                <a:defRPr/>
              </a:pPr>
              <a:t>12</a:t>
            </a:fld>
            <a:endParaRPr lang="en-GB">
              <a:ea typeface="微软雅黑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911" y="2404208"/>
            <a:ext cx="4087378" cy="286594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6" name="矩形 5"/>
          <p:cNvSpPr/>
          <p:nvPr/>
        </p:nvSpPr>
        <p:spPr>
          <a:xfrm>
            <a:off x="7241959" y="2152440"/>
            <a:ext cx="1910405" cy="273344"/>
          </a:xfrm>
          <a:prstGeom prst="rect">
            <a:avLst/>
          </a:prstGeom>
        </p:spPr>
        <p:txBody>
          <a:bodyPr wrap="square" lIns="84011" tIns="42005" rIns="84011" bIns="42005">
            <a:spAutoFit/>
          </a:bodyPr>
          <a:lstStyle/>
          <a:p>
            <a:pPr defTabSz="1120140">
              <a:spcAft>
                <a:spcPts val="735"/>
              </a:spcAft>
            </a:pPr>
            <a:r>
              <a:rPr lang="zh-CN" altLang="en-US" sz="1225" b="1" dirty="0">
                <a:solidFill>
                  <a:srgbClr val="002C6C"/>
                </a:solidFill>
                <a:latin typeface="微软雅黑"/>
                <a:ea typeface="微软雅黑"/>
              </a:rPr>
              <a:t>商品数据跨国合作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2583" y="2425783"/>
            <a:ext cx="4586891" cy="2789727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1317967" y="2130864"/>
            <a:ext cx="3168068" cy="273344"/>
          </a:xfrm>
          <a:prstGeom prst="rect">
            <a:avLst/>
          </a:prstGeom>
        </p:spPr>
        <p:txBody>
          <a:bodyPr wrap="square" lIns="84011" tIns="42005" rIns="84011" bIns="42005">
            <a:spAutoFit/>
          </a:bodyPr>
          <a:lstStyle/>
          <a:p>
            <a:pPr algn="ctr" defTabSz="1120140">
              <a:spcAft>
                <a:spcPts val="735"/>
              </a:spcAft>
            </a:pPr>
            <a:r>
              <a:rPr lang="en-US" altLang="zh-CN" sz="1225" b="1" dirty="0">
                <a:solidFill>
                  <a:srgbClr val="002C6C"/>
                </a:solidFill>
                <a:latin typeface="微软雅黑"/>
                <a:ea typeface="微软雅黑"/>
              </a:rPr>
              <a:t>GS1</a:t>
            </a:r>
            <a:r>
              <a:rPr lang="zh-CN" altLang="zh-CN" sz="1225" b="1" dirty="0">
                <a:solidFill>
                  <a:srgbClr val="002C6C"/>
                </a:solidFill>
                <a:latin typeface="微软雅黑"/>
                <a:ea typeface="微软雅黑"/>
              </a:rPr>
              <a:t>全球</a:t>
            </a:r>
            <a:r>
              <a:rPr lang="zh-CN" altLang="en-US" sz="1225" b="1" dirty="0">
                <a:solidFill>
                  <a:srgbClr val="002C6C"/>
                </a:solidFill>
                <a:latin typeface="微软雅黑"/>
                <a:ea typeface="微软雅黑"/>
              </a:rPr>
              <a:t>数据平台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2647661" y="1393674"/>
            <a:ext cx="7999332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20140"/>
            <a:r>
              <a:rPr kumimoji="1" lang="zh-CN" altLang="en-US" sz="1960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全球商品数据</a:t>
            </a:r>
            <a:r>
              <a:rPr kumimoji="1" lang="en-US" altLang="zh-CN" sz="1960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——</a:t>
            </a:r>
            <a:r>
              <a:rPr kumimoji="1" lang="zh-CN" altLang="en-US" sz="1960" b="1" dirty="0">
                <a:solidFill>
                  <a:srgbClr val="454545"/>
                </a:solidFill>
                <a:latin typeface="微软雅黑"/>
                <a:ea typeface="微软雅黑"/>
                <a:cs typeface="+mn-ea"/>
                <a:sym typeface="+mn-lt"/>
              </a:rPr>
              <a:t>国外平台采集，国际合作共享</a:t>
            </a:r>
          </a:p>
        </p:txBody>
      </p:sp>
    </p:spTree>
    <p:extLst>
      <p:ext uri="{BB962C8B-B14F-4D97-AF65-F5344CB8AC3E}">
        <p14:creationId xmlns:p14="http://schemas.microsoft.com/office/powerpoint/2010/main" val="402134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 b="1" dirty="0">
                <a:latin typeface="+mn-lt"/>
                <a:ea typeface="+mj-ea"/>
              </a:rPr>
              <a:t>数据对外应用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/>
              <a:t>13</a:t>
            </a:fld>
            <a:endParaRPr lang="en-GB"/>
          </a:p>
        </p:txBody>
      </p:sp>
      <p:grpSp>
        <p:nvGrpSpPr>
          <p:cNvPr id="5" name="组合 4"/>
          <p:cNvGrpSpPr/>
          <p:nvPr/>
        </p:nvGrpSpPr>
        <p:grpSpPr>
          <a:xfrm>
            <a:off x="6882882" y="1750317"/>
            <a:ext cx="1495933" cy="547557"/>
            <a:chOff x="7736204" y="2849548"/>
            <a:chExt cx="1428030" cy="522703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6204" y="2849548"/>
              <a:ext cx="525625" cy="52270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7" name="文本框 6"/>
            <p:cNvSpPr txBox="1"/>
            <p:nvPr/>
          </p:nvSpPr>
          <p:spPr>
            <a:xfrm>
              <a:off x="8204468" y="2923490"/>
              <a:ext cx="959766" cy="3231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88103"/>
              <a:r>
                <a:rPr lang="zh-CN" altLang="en-US" sz="1600" dirty="0">
                  <a:solidFill>
                    <a:srgbClr val="002C6C"/>
                  </a:solidFill>
                  <a:latin typeface="Arial"/>
                  <a:cs typeface="+mn-ea"/>
                  <a:sym typeface="+mn-lt"/>
                </a:rPr>
                <a:t>中国编码</a:t>
              </a: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6970185" y="2275333"/>
            <a:ext cx="2889005" cy="378312"/>
            <a:chOff x="5303709" y="2361806"/>
            <a:chExt cx="2757866" cy="361140"/>
          </a:xfrm>
        </p:grpSpPr>
        <p:sp>
          <p:nvSpPr>
            <p:cNvPr id="9" name="文本框 8"/>
            <p:cNvSpPr txBox="1"/>
            <p:nvPr/>
          </p:nvSpPr>
          <p:spPr>
            <a:xfrm>
              <a:off x="7297680" y="2361806"/>
              <a:ext cx="763895" cy="3231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8810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C6C"/>
                  </a:solidFill>
                  <a:effectLst/>
                  <a:uLnTx/>
                  <a:uFillTx/>
                  <a:latin typeface="Arial"/>
                  <a:cs typeface="+mn-ea"/>
                  <a:sym typeface="+mn-lt"/>
                </a:rPr>
                <a:t>扫一扫</a:t>
              </a:r>
            </a:p>
          </p:txBody>
        </p:sp>
        <p:sp>
          <p:nvSpPr>
            <p:cNvPr id="10" name="iconfont-1108-834256">
              <a:extLst>
                <a:ext uri="{FF2B5EF4-FFF2-40B4-BE49-F238E27FC236}">
                  <a16:creationId xmlns:a16="http://schemas.microsoft.com/office/drawing/2014/main" id="{54405246-CCE2-4201-BBB1-D3F3EB6E740D}"/>
                </a:ext>
              </a:extLst>
            </p:cNvPr>
            <p:cNvSpPr/>
            <p:nvPr/>
          </p:nvSpPr>
          <p:spPr>
            <a:xfrm>
              <a:off x="5303709" y="2372322"/>
              <a:ext cx="413588" cy="350624"/>
            </a:xfrm>
            <a:custGeom>
              <a:avLst/>
              <a:gdLst>
                <a:gd name="T0" fmla="*/ 7365 w 10880"/>
                <a:gd name="T1" fmla="*/ 2654 h 8770"/>
                <a:gd name="T2" fmla="*/ 7736 w 10880"/>
                <a:gd name="T3" fmla="*/ 2676 h 8770"/>
                <a:gd name="T4" fmla="*/ 3851 w 10880"/>
                <a:gd name="T5" fmla="*/ 0 h 8770"/>
                <a:gd name="T6" fmla="*/ 0 w 10880"/>
                <a:gd name="T7" fmla="*/ 3241 h 8770"/>
                <a:gd name="T8" fmla="*/ 1541 w 10880"/>
                <a:gd name="T9" fmla="*/ 5813 h 8770"/>
                <a:gd name="T10" fmla="*/ 1156 w 10880"/>
                <a:gd name="T11" fmla="*/ 6960 h 8770"/>
                <a:gd name="T12" fmla="*/ 2502 w 10880"/>
                <a:gd name="T13" fmla="*/ 6292 h 8770"/>
                <a:gd name="T14" fmla="*/ 3851 w 10880"/>
                <a:gd name="T15" fmla="*/ 6483 h 8770"/>
                <a:gd name="T16" fmla="*/ 4210 w 10880"/>
                <a:gd name="T17" fmla="*/ 6468 h 8770"/>
                <a:gd name="T18" fmla="*/ 4091 w 10880"/>
                <a:gd name="T19" fmla="*/ 5670 h 8770"/>
                <a:gd name="T20" fmla="*/ 7365 w 10880"/>
                <a:gd name="T21" fmla="*/ 2654 h 8770"/>
                <a:gd name="T22" fmla="*/ 5295 w 10880"/>
                <a:gd name="T23" fmla="*/ 1620 h 8770"/>
                <a:gd name="T24" fmla="*/ 5777 w 10880"/>
                <a:gd name="T25" fmla="*/ 2096 h 8770"/>
                <a:gd name="T26" fmla="*/ 5295 w 10880"/>
                <a:gd name="T27" fmla="*/ 2573 h 8770"/>
                <a:gd name="T28" fmla="*/ 4717 w 10880"/>
                <a:gd name="T29" fmla="*/ 2096 h 8770"/>
                <a:gd name="T30" fmla="*/ 5295 w 10880"/>
                <a:gd name="T31" fmla="*/ 1620 h 8770"/>
                <a:gd name="T32" fmla="*/ 2600 w 10880"/>
                <a:gd name="T33" fmla="*/ 2573 h 8770"/>
                <a:gd name="T34" fmla="*/ 2020 w 10880"/>
                <a:gd name="T35" fmla="*/ 2096 h 8770"/>
                <a:gd name="T36" fmla="*/ 2600 w 10880"/>
                <a:gd name="T37" fmla="*/ 1620 h 8770"/>
                <a:gd name="T38" fmla="*/ 3080 w 10880"/>
                <a:gd name="T39" fmla="*/ 2096 h 8770"/>
                <a:gd name="T40" fmla="*/ 2600 w 10880"/>
                <a:gd name="T41" fmla="*/ 2573 h 8770"/>
                <a:gd name="T42" fmla="*/ 10880 w 10880"/>
                <a:gd name="T43" fmla="*/ 5624 h 8770"/>
                <a:gd name="T44" fmla="*/ 7609 w 10880"/>
                <a:gd name="T45" fmla="*/ 2858 h 8770"/>
                <a:gd name="T46" fmla="*/ 4334 w 10880"/>
                <a:gd name="T47" fmla="*/ 5624 h 8770"/>
                <a:gd name="T48" fmla="*/ 7609 w 10880"/>
                <a:gd name="T49" fmla="*/ 8389 h 8770"/>
                <a:gd name="T50" fmla="*/ 8764 w 10880"/>
                <a:gd name="T51" fmla="*/ 8198 h 8770"/>
                <a:gd name="T52" fmla="*/ 9821 w 10880"/>
                <a:gd name="T53" fmla="*/ 8770 h 8770"/>
                <a:gd name="T54" fmla="*/ 9531 w 10880"/>
                <a:gd name="T55" fmla="*/ 7818 h 8770"/>
                <a:gd name="T56" fmla="*/ 10880 w 10880"/>
                <a:gd name="T57" fmla="*/ 5624 h 8770"/>
                <a:gd name="T58" fmla="*/ 6547 w 10880"/>
                <a:gd name="T59" fmla="*/ 5147 h 8770"/>
                <a:gd name="T60" fmla="*/ 6162 w 10880"/>
                <a:gd name="T61" fmla="*/ 4766 h 8770"/>
                <a:gd name="T62" fmla="*/ 6547 w 10880"/>
                <a:gd name="T63" fmla="*/ 4385 h 8770"/>
                <a:gd name="T64" fmla="*/ 7029 w 10880"/>
                <a:gd name="T65" fmla="*/ 4766 h 8770"/>
                <a:gd name="T66" fmla="*/ 6547 w 10880"/>
                <a:gd name="T67" fmla="*/ 5147 h 8770"/>
                <a:gd name="T68" fmla="*/ 8665 w 10880"/>
                <a:gd name="T69" fmla="*/ 5147 h 8770"/>
                <a:gd name="T70" fmla="*/ 8283 w 10880"/>
                <a:gd name="T71" fmla="*/ 4766 h 8770"/>
                <a:gd name="T72" fmla="*/ 8665 w 10880"/>
                <a:gd name="T73" fmla="*/ 4385 h 8770"/>
                <a:gd name="T74" fmla="*/ 9147 w 10880"/>
                <a:gd name="T75" fmla="*/ 4766 h 8770"/>
                <a:gd name="T76" fmla="*/ 8665 w 10880"/>
                <a:gd name="T77" fmla="*/ 5147 h 8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80" h="8770">
                  <a:moveTo>
                    <a:pt x="7365" y="2654"/>
                  </a:moveTo>
                  <a:cubicBezTo>
                    <a:pt x="7490" y="2654"/>
                    <a:pt x="7614" y="2663"/>
                    <a:pt x="7736" y="2676"/>
                  </a:cubicBezTo>
                  <a:cubicBezTo>
                    <a:pt x="7403" y="1141"/>
                    <a:pt x="5744" y="0"/>
                    <a:pt x="3851" y="0"/>
                  </a:cubicBezTo>
                  <a:cubicBezTo>
                    <a:pt x="1734" y="0"/>
                    <a:pt x="0" y="1428"/>
                    <a:pt x="0" y="3241"/>
                  </a:cubicBezTo>
                  <a:cubicBezTo>
                    <a:pt x="0" y="4288"/>
                    <a:pt x="577" y="5147"/>
                    <a:pt x="1541" y="5813"/>
                  </a:cubicBezTo>
                  <a:lnTo>
                    <a:pt x="1156" y="6960"/>
                  </a:lnTo>
                  <a:lnTo>
                    <a:pt x="2502" y="6292"/>
                  </a:lnTo>
                  <a:cubicBezTo>
                    <a:pt x="2984" y="6386"/>
                    <a:pt x="3370" y="6483"/>
                    <a:pt x="3851" y="6483"/>
                  </a:cubicBezTo>
                  <a:cubicBezTo>
                    <a:pt x="3971" y="6483"/>
                    <a:pt x="4091" y="6477"/>
                    <a:pt x="4210" y="6468"/>
                  </a:cubicBezTo>
                  <a:cubicBezTo>
                    <a:pt x="4135" y="6213"/>
                    <a:pt x="4091" y="5946"/>
                    <a:pt x="4091" y="5670"/>
                  </a:cubicBezTo>
                  <a:cubicBezTo>
                    <a:pt x="4091" y="4005"/>
                    <a:pt x="5536" y="2654"/>
                    <a:pt x="7365" y="2654"/>
                  </a:cubicBezTo>
                  <a:close/>
                  <a:moveTo>
                    <a:pt x="5295" y="1620"/>
                  </a:moveTo>
                  <a:cubicBezTo>
                    <a:pt x="5585" y="1620"/>
                    <a:pt x="5777" y="1809"/>
                    <a:pt x="5777" y="2096"/>
                  </a:cubicBezTo>
                  <a:cubicBezTo>
                    <a:pt x="5777" y="2382"/>
                    <a:pt x="5585" y="2573"/>
                    <a:pt x="5295" y="2573"/>
                  </a:cubicBezTo>
                  <a:cubicBezTo>
                    <a:pt x="5006" y="2573"/>
                    <a:pt x="4717" y="2382"/>
                    <a:pt x="4717" y="2096"/>
                  </a:cubicBezTo>
                  <a:cubicBezTo>
                    <a:pt x="4717" y="1809"/>
                    <a:pt x="5006" y="1620"/>
                    <a:pt x="5295" y="1620"/>
                  </a:cubicBezTo>
                  <a:close/>
                  <a:moveTo>
                    <a:pt x="2600" y="2573"/>
                  </a:moveTo>
                  <a:cubicBezTo>
                    <a:pt x="2311" y="2573"/>
                    <a:pt x="2020" y="2382"/>
                    <a:pt x="2020" y="2096"/>
                  </a:cubicBezTo>
                  <a:cubicBezTo>
                    <a:pt x="2020" y="1809"/>
                    <a:pt x="2311" y="1620"/>
                    <a:pt x="2600" y="1620"/>
                  </a:cubicBezTo>
                  <a:cubicBezTo>
                    <a:pt x="2888" y="1620"/>
                    <a:pt x="3080" y="1809"/>
                    <a:pt x="3080" y="2096"/>
                  </a:cubicBezTo>
                  <a:cubicBezTo>
                    <a:pt x="3080" y="2382"/>
                    <a:pt x="2888" y="2573"/>
                    <a:pt x="2600" y="2573"/>
                  </a:cubicBezTo>
                  <a:close/>
                  <a:moveTo>
                    <a:pt x="10880" y="5624"/>
                  </a:moveTo>
                  <a:cubicBezTo>
                    <a:pt x="10880" y="4100"/>
                    <a:pt x="9339" y="2858"/>
                    <a:pt x="7609" y="2858"/>
                  </a:cubicBezTo>
                  <a:cubicBezTo>
                    <a:pt x="5777" y="2858"/>
                    <a:pt x="4334" y="4100"/>
                    <a:pt x="4334" y="5624"/>
                  </a:cubicBezTo>
                  <a:cubicBezTo>
                    <a:pt x="4334" y="7150"/>
                    <a:pt x="5777" y="8389"/>
                    <a:pt x="7609" y="8389"/>
                  </a:cubicBezTo>
                  <a:cubicBezTo>
                    <a:pt x="7992" y="8389"/>
                    <a:pt x="8379" y="8294"/>
                    <a:pt x="8764" y="8198"/>
                  </a:cubicBezTo>
                  <a:lnTo>
                    <a:pt x="9821" y="8770"/>
                  </a:lnTo>
                  <a:lnTo>
                    <a:pt x="9531" y="7818"/>
                  </a:lnTo>
                  <a:cubicBezTo>
                    <a:pt x="10304" y="7244"/>
                    <a:pt x="10880" y="6483"/>
                    <a:pt x="10880" y="5624"/>
                  </a:cubicBezTo>
                  <a:close/>
                  <a:moveTo>
                    <a:pt x="6547" y="5147"/>
                  </a:moveTo>
                  <a:cubicBezTo>
                    <a:pt x="6355" y="5147"/>
                    <a:pt x="6162" y="4958"/>
                    <a:pt x="6162" y="4766"/>
                  </a:cubicBezTo>
                  <a:cubicBezTo>
                    <a:pt x="6162" y="4576"/>
                    <a:pt x="6355" y="4385"/>
                    <a:pt x="6547" y="4385"/>
                  </a:cubicBezTo>
                  <a:cubicBezTo>
                    <a:pt x="6838" y="4385"/>
                    <a:pt x="7029" y="4576"/>
                    <a:pt x="7029" y="4766"/>
                  </a:cubicBezTo>
                  <a:cubicBezTo>
                    <a:pt x="7029" y="4958"/>
                    <a:pt x="6838" y="5147"/>
                    <a:pt x="6547" y="5147"/>
                  </a:cubicBezTo>
                  <a:close/>
                  <a:moveTo>
                    <a:pt x="8665" y="5147"/>
                  </a:moveTo>
                  <a:cubicBezTo>
                    <a:pt x="8475" y="5147"/>
                    <a:pt x="8283" y="4958"/>
                    <a:pt x="8283" y="4766"/>
                  </a:cubicBezTo>
                  <a:cubicBezTo>
                    <a:pt x="8283" y="4576"/>
                    <a:pt x="8475" y="4385"/>
                    <a:pt x="8665" y="4385"/>
                  </a:cubicBezTo>
                  <a:cubicBezTo>
                    <a:pt x="8954" y="4385"/>
                    <a:pt x="9147" y="4576"/>
                    <a:pt x="9147" y="4766"/>
                  </a:cubicBezTo>
                  <a:cubicBezTo>
                    <a:pt x="9147" y="4958"/>
                    <a:pt x="8954" y="5147"/>
                    <a:pt x="8665" y="5147"/>
                  </a:cubicBezTo>
                  <a:close/>
                </a:path>
              </a:pathLst>
            </a:custGeom>
            <a:solidFill>
              <a:srgbClr val="7AC143"/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128810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06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7503839" y="2306664"/>
            <a:ext cx="340089" cy="346984"/>
            <a:chOff x="7614772" y="2724557"/>
            <a:chExt cx="379891" cy="387593"/>
          </a:xfrm>
        </p:grpSpPr>
        <p:sp>
          <p:nvSpPr>
            <p:cNvPr id="12" name="圆角矩形 11"/>
            <p:cNvSpPr/>
            <p:nvPr/>
          </p:nvSpPr>
          <p:spPr>
            <a:xfrm>
              <a:off x="7614772" y="2724557"/>
              <a:ext cx="379891" cy="387593"/>
            </a:xfrm>
            <a:prstGeom prst="roundRect">
              <a:avLst/>
            </a:prstGeom>
            <a:solidFill>
              <a:srgbClr val="F26334"/>
            </a:solidFill>
            <a:ln w="25400" cap="flat" cmpd="sng" algn="ctr">
              <a:noFill/>
              <a:prstDash val="solid"/>
            </a:ln>
          </p:spPr>
          <p:txBody>
            <a:bodyPr rtlCol="0" anchor="ctr"/>
            <a:lstStyle/>
            <a:p>
              <a:pPr marL="0" marR="0" lvl="0" indent="0" algn="ctr" defTabSz="12191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+mn-ea"/>
                <a:sym typeface="+mn-lt"/>
              </a:endParaRPr>
            </a:p>
          </p:txBody>
        </p:sp>
        <p:sp>
          <p:nvSpPr>
            <p:cNvPr id="13" name="iconfont-11253-5322190">
              <a:extLst>
                <a:ext uri="{FF2B5EF4-FFF2-40B4-BE49-F238E27FC236}">
                  <a16:creationId xmlns:a16="http://schemas.microsoft.com/office/drawing/2014/main" id="{54405246-CCE2-4201-BBB1-D3F3EB6E740D}"/>
                </a:ext>
              </a:extLst>
            </p:cNvPr>
            <p:cNvSpPr/>
            <p:nvPr/>
          </p:nvSpPr>
          <p:spPr>
            <a:xfrm>
              <a:off x="7634028" y="2768969"/>
              <a:ext cx="334898" cy="298770"/>
            </a:xfrm>
            <a:custGeom>
              <a:avLst/>
              <a:gdLst>
                <a:gd name="T0" fmla="*/ 424 w 10154"/>
                <a:gd name="T1" fmla="*/ 3398 h 8876"/>
                <a:gd name="T2" fmla="*/ 1833 w 10154"/>
                <a:gd name="T3" fmla="*/ 5070 h 8876"/>
                <a:gd name="T4" fmla="*/ 1363 w 10154"/>
                <a:gd name="T5" fmla="*/ 7934 h 8876"/>
                <a:gd name="T6" fmla="*/ 2365 w 10154"/>
                <a:gd name="T7" fmla="*/ 3693 h 8876"/>
                <a:gd name="T8" fmla="*/ 988 w 10154"/>
                <a:gd name="T9" fmla="*/ 2529 h 8876"/>
                <a:gd name="T10" fmla="*/ 4493 w 10154"/>
                <a:gd name="T11" fmla="*/ 1428 h 8876"/>
                <a:gd name="T12" fmla="*/ 3551 w 10154"/>
                <a:gd name="T13" fmla="*/ 455 h 8876"/>
                <a:gd name="T14" fmla="*/ 3006 w 10154"/>
                <a:gd name="T15" fmla="*/ 3371 h 8876"/>
                <a:gd name="T16" fmla="*/ 4261 w 10154"/>
                <a:gd name="T17" fmla="*/ 2371 h 8876"/>
                <a:gd name="T18" fmla="*/ 3807 w 10154"/>
                <a:gd name="T19" fmla="*/ 4276 h 8876"/>
                <a:gd name="T20" fmla="*/ 5014 w 10154"/>
                <a:gd name="T21" fmla="*/ 3510 h 8876"/>
                <a:gd name="T22" fmla="*/ 3258 w 10154"/>
                <a:gd name="T23" fmla="*/ 4283 h 8876"/>
                <a:gd name="T24" fmla="*/ 5014 w 10154"/>
                <a:gd name="T25" fmla="*/ 4900 h 8876"/>
                <a:gd name="T26" fmla="*/ 4948 w 10154"/>
                <a:gd name="T27" fmla="*/ 6378 h 8876"/>
                <a:gd name="T28" fmla="*/ 4305 w 10154"/>
                <a:gd name="T29" fmla="*/ 5253 h 8876"/>
                <a:gd name="T30" fmla="*/ 3050 w 10154"/>
                <a:gd name="T31" fmla="*/ 5274 h 8876"/>
                <a:gd name="T32" fmla="*/ 7309 w 10154"/>
                <a:gd name="T33" fmla="*/ 6426 h 8876"/>
                <a:gd name="T34" fmla="*/ 8480 w 10154"/>
                <a:gd name="T35" fmla="*/ 6670 h 8876"/>
                <a:gd name="T36" fmla="*/ 7000 w 10154"/>
                <a:gd name="T37" fmla="*/ 5271 h 8876"/>
                <a:gd name="T38" fmla="*/ 6449 w 10154"/>
                <a:gd name="T39" fmla="*/ 6191 h 8876"/>
                <a:gd name="T40" fmla="*/ 8160 w 10154"/>
                <a:gd name="T41" fmla="*/ 4901 h 8876"/>
                <a:gd name="T42" fmla="*/ 6446 w 10154"/>
                <a:gd name="T43" fmla="*/ 4283 h 8876"/>
                <a:gd name="T44" fmla="*/ 8165 w 10154"/>
                <a:gd name="T45" fmla="*/ 3511 h 8876"/>
                <a:gd name="T46" fmla="*/ 5113 w 10154"/>
                <a:gd name="T47" fmla="*/ 2894 h 8876"/>
                <a:gd name="T48" fmla="*/ 5020 w 10154"/>
                <a:gd name="T49" fmla="*/ 2081 h 8876"/>
                <a:gd name="T50" fmla="*/ 8561 w 10154"/>
                <a:gd name="T51" fmla="*/ 6273 h 8876"/>
                <a:gd name="T52" fmla="*/ 6556 w 10154"/>
                <a:gd name="T53" fmla="*/ 7238 h 8876"/>
                <a:gd name="T54" fmla="*/ 9889 w 10154"/>
                <a:gd name="T55" fmla="*/ 6384 h 8876"/>
                <a:gd name="T56" fmla="*/ 9821 w 10154"/>
                <a:gd name="T57" fmla="*/ 2301 h 8876"/>
                <a:gd name="T58" fmla="*/ 1716 w 10154"/>
                <a:gd name="T59" fmla="*/ 2258 h 8876"/>
                <a:gd name="T60" fmla="*/ 1716 w 10154"/>
                <a:gd name="T61" fmla="*/ 580 h 8876"/>
                <a:gd name="T62" fmla="*/ 878 w 10154"/>
                <a:gd name="T63" fmla="*/ 1419 h 8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154" h="8876">
                  <a:moveTo>
                    <a:pt x="988" y="2529"/>
                  </a:moveTo>
                  <a:lnTo>
                    <a:pt x="424" y="3398"/>
                  </a:lnTo>
                  <a:lnTo>
                    <a:pt x="1468" y="4048"/>
                  </a:lnTo>
                  <a:cubicBezTo>
                    <a:pt x="1468" y="4048"/>
                    <a:pt x="2163" y="4403"/>
                    <a:pt x="1833" y="5070"/>
                  </a:cubicBezTo>
                  <a:cubicBezTo>
                    <a:pt x="1520" y="5703"/>
                    <a:pt x="0" y="7085"/>
                    <a:pt x="0" y="7085"/>
                  </a:cubicBezTo>
                  <a:lnTo>
                    <a:pt x="1363" y="7934"/>
                  </a:lnTo>
                  <a:cubicBezTo>
                    <a:pt x="2303" y="5891"/>
                    <a:pt x="2244" y="6161"/>
                    <a:pt x="2481" y="5428"/>
                  </a:cubicBezTo>
                  <a:cubicBezTo>
                    <a:pt x="2724" y="4678"/>
                    <a:pt x="2775" y="4105"/>
                    <a:pt x="2365" y="3693"/>
                  </a:cubicBezTo>
                  <a:cubicBezTo>
                    <a:pt x="1835" y="3163"/>
                    <a:pt x="1775" y="3114"/>
                    <a:pt x="988" y="2529"/>
                  </a:cubicBezTo>
                  <a:close/>
                  <a:moveTo>
                    <a:pt x="988" y="2529"/>
                  </a:moveTo>
                  <a:close/>
                  <a:moveTo>
                    <a:pt x="9821" y="2301"/>
                  </a:moveTo>
                  <a:cubicBezTo>
                    <a:pt x="9821" y="2301"/>
                    <a:pt x="9529" y="0"/>
                    <a:pt x="4493" y="1428"/>
                  </a:cubicBezTo>
                  <a:cubicBezTo>
                    <a:pt x="4705" y="1053"/>
                    <a:pt x="4811" y="808"/>
                    <a:pt x="4811" y="808"/>
                  </a:cubicBezTo>
                  <a:lnTo>
                    <a:pt x="3551" y="455"/>
                  </a:lnTo>
                  <a:cubicBezTo>
                    <a:pt x="3551" y="455"/>
                    <a:pt x="3044" y="2109"/>
                    <a:pt x="2140" y="2881"/>
                  </a:cubicBezTo>
                  <a:cubicBezTo>
                    <a:pt x="2140" y="2881"/>
                    <a:pt x="3015" y="3385"/>
                    <a:pt x="3006" y="3371"/>
                  </a:cubicBezTo>
                  <a:cubicBezTo>
                    <a:pt x="3256" y="3121"/>
                    <a:pt x="3480" y="2865"/>
                    <a:pt x="3677" y="2619"/>
                  </a:cubicBezTo>
                  <a:cubicBezTo>
                    <a:pt x="3877" y="2530"/>
                    <a:pt x="4071" y="2449"/>
                    <a:pt x="4261" y="2371"/>
                  </a:cubicBezTo>
                  <a:cubicBezTo>
                    <a:pt x="4031" y="2790"/>
                    <a:pt x="3654" y="3418"/>
                    <a:pt x="3277" y="3813"/>
                  </a:cubicBezTo>
                  <a:lnTo>
                    <a:pt x="3807" y="4276"/>
                  </a:lnTo>
                  <a:cubicBezTo>
                    <a:pt x="3807" y="4276"/>
                    <a:pt x="4167" y="3929"/>
                    <a:pt x="4562" y="3510"/>
                  </a:cubicBezTo>
                  <a:lnTo>
                    <a:pt x="5014" y="3510"/>
                  </a:lnTo>
                  <a:lnTo>
                    <a:pt x="5014" y="4283"/>
                  </a:lnTo>
                  <a:lnTo>
                    <a:pt x="3258" y="4283"/>
                  </a:lnTo>
                  <a:lnTo>
                    <a:pt x="3258" y="4900"/>
                  </a:lnTo>
                  <a:lnTo>
                    <a:pt x="5014" y="4900"/>
                  </a:lnTo>
                  <a:lnTo>
                    <a:pt x="5014" y="6381"/>
                  </a:lnTo>
                  <a:cubicBezTo>
                    <a:pt x="4991" y="6380"/>
                    <a:pt x="4969" y="6380"/>
                    <a:pt x="4948" y="6378"/>
                  </a:cubicBezTo>
                  <a:cubicBezTo>
                    <a:pt x="4754" y="6368"/>
                    <a:pt x="4451" y="6338"/>
                    <a:pt x="4335" y="6151"/>
                  </a:cubicBezTo>
                  <a:cubicBezTo>
                    <a:pt x="4191" y="5925"/>
                    <a:pt x="4296" y="5509"/>
                    <a:pt x="4305" y="5253"/>
                  </a:cubicBezTo>
                  <a:lnTo>
                    <a:pt x="3094" y="5253"/>
                  </a:lnTo>
                  <a:lnTo>
                    <a:pt x="3050" y="5274"/>
                  </a:lnTo>
                  <a:cubicBezTo>
                    <a:pt x="3050" y="5274"/>
                    <a:pt x="2609" y="7259"/>
                    <a:pt x="4331" y="7215"/>
                  </a:cubicBezTo>
                  <a:cubicBezTo>
                    <a:pt x="5941" y="7256"/>
                    <a:pt x="6866" y="6765"/>
                    <a:pt x="7309" y="6426"/>
                  </a:cubicBezTo>
                  <a:lnTo>
                    <a:pt x="7485" y="7083"/>
                  </a:lnTo>
                  <a:lnTo>
                    <a:pt x="8480" y="6670"/>
                  </a:lnTo>
                  <a:lnTo>
                    <a:pt x="7809" y="5021"/>
                  </a:lnTo>
                  <a:lnTo>
                    <a:pt x="7000" y="5271"/>
                  </a:lnTo>
                  <a:lnTo>
                    <a:pt x="7153" y="5835"/>
                  </a:lnTo>
                  <a:cubicBezTo>
                    <a:pt x="6944" y="5990"/>
                    <a:pt x="6705" y="6106"/>
                    <a:pt x="6449" y="6191"/>
                  </a:cubicBezTo>
                  <a:lnTo>
                    <a:pt x="6449" y="4901"/>
                  </a:lnTo>
                  <a:lnTo>
                    <a:pt x="8160" y="4901"/>
                  </a:lnTo>
                  <a:lnTo>
                    <a:pt x="8160" y="4283"/>
                  </a:lnTo>
                  <a:lnTo>
                    <a:pt x="6446" y="4283"/>
                  </a:lnTo>
                  <a:lnTo>
                    <a:pt x="6446" y="3511"/>
                  </a:lnTo>
                  <a:lnTo>
                    <a:pt x="8165" y="3511"/>
                  </a:lnTo>
                  <a:lnTo>
                    <a:pt x="8165" y="2894"/>
                  </a:lnTo>
                  <a:lnTo>
                    <a:pt x="5113" y="2894"/>
                  </a:lnTo>
                  <a:cubicBezTo>
                    <a:pt x="5331" y="2626"/>
                    <a:pt x="5504" y="2381"/>
                    <a:pt x="5551" y="2225"/>
                  </a:cubicBezTo>
                  <a:lnTo>
                    <a:pt x="5020" y="2081"/>
                  </a:lnTo>
                  <a:cubicBezTo>
                    <a:pt x="7301" y="1265"/>
                    <a:pt x="8573" y="1405"/>
                    <a:pt x="8561" y="2744"/>
                  </a:cubicBezTo>
                  <a:lnTo>
                    <a:pt x="8561" y="6273"/>
                  </a:lnTo>
                  <a:cubicBezTo>
                    <a:pt x="8561" y="6273"/>
                    <a:pt x="8696" y="7488"/>
                    <a:pt x="7306" y="7399"/>
                  </a:cubicBezTo>
                  <a:lnTo>
                    <a:pt x="6556" y="7238"/>
                  </a:lnTo>
                  <a:lnTo>
                    <a:pt x="6381" y="7951"/>
                  </a:lnTo>
                  <a:cubicBezTo>
                    <a:pt x="6381" y="7951"/>
                    <a:pt x="9624" y="8876"/>
                    <a:pt x="9889" y="6384"/>
                  </a:cubicBezTo>
                  <a:cubicBezTo>
                    <a:pt x="10154" y="3891"/>
                    <a:pt x="9821" y="2301"/>
                    <a:pt x="9821" y="2301"/>
                  </a:cubicBezTo>
                  <a:close/>
                  <a:moveTo>
                    <a:pt x="9821" y="2301"/>
                  </a:moveTo>
                  <a:close/>
                  <a:moveTo>
                    <a:pt x="878" y="1419"/>
                  </a:moveTo>
                  <a:cubicBezTo>
                    <a:pt x="878" y="1883"/>
                    <a:pt x="1254" y="2258"/>
                    <a:pt x="1716" y="2258"/>
                  </a:cubicBezTo>
                  <a:cubicBezTo>
                    <a:pt x="2179" y="2258"/>
                    <a:pt x="2555" y="1881"/>
                    <a:pt x="2555" y="1419"/>
                  </a:cubicBezTo>
                  <a:cubicBezTo>
                    <a:pt x="2555" y="956"/>
                    <a:pt x="2179" y="580"/>
                    <a:pt x="1716" y="580"/>
                  </a:cubicBezTo>
                  <a:cubicBezTo>
                    <a:pt x="1254" y="580"/>
                    <a:pt x="878" y="955"/>
                    <a:pt x="878" y="1419"/>
                  </a:cubicBezTo>
                  <a:close/>
                  <a:moveTo>
                    <a:pt x="878" y="1419"/>
                  </a:move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8810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06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endParaRPr>
            </a:p>
          </p:txBody>
        </p:sp>
      </p:grpSp>
      <p:pic>
        <p:nvPicPr>
          <p:cNvPr id="14" name="图片 1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61" t="5043" r="8788"/>
          <a:stretch/>
        </p:blipFill>
        <p:spPr>
          <a:xfrm>
            <a:off x="8397332" y="2212499"/>
            <a:ext cx="581332" cy="467377"/>
          </a:xfrm>
          <a:prstGeom prst="roundRect">
            <a:avLst>
              <a:gd name="adj" fmla="val 20526"/>
            </a:avLst>
          </a:prstGeom>
          <a:effectLst>
            <a:softEdge rad="76200"/>
          </a:effectLst>
        </p:spPr>
      </p:pic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99" t="12000" r="14000" b="12000"/>
          <a:stretch/>
        </p:blipFill>
        <p:spPr>
          <a:xfrm>
            <a:off x="7912348" y="2185264"/>
            <a:ext cx="501285" cy="498838"/>
          </a:xfrm>
          <a:prstGeom prst="roundRect">
            <a:avLst/>
          </a:prstGeom>
          <a:effectLst>
            <a:softEdge rad="50800"/>
          </a:effectLst>
        </p:spPr>
      </p:pic>
      <p:sp>
        <p:nvSpPr>
          <p:cNvPr id="23" name="MH_Other_1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2748152" y="1931193"/>
            <a:ext cx="1979527" cy="1503003"/>
          </a:xfrm>
          <a:prstGeom prst="line">
            <a:avLst/>
          </a:prstGeom>
          <a:noFill/>
          <a:ln w="38100" cap="rnd">
            <a:solidFill>
              <a:srgbClr val="0070C0">
                <a:lumMod val="40000"/>
                <a:lumOff val="60000"/>
              </a:srgb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normAutofit fontScale="25000" lnSpcReduction="20000"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2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H_Other_2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3089557" y="3551766"/>
            <a:ext cx="1798462" cy="160804"/>
          </a:xfrm>
          <a:prstGeom prst="line">
            <a:avLst/>
          </a:prstGeom>
          <a:noFill/>
          <a:ln w="38100" cap="rnd">
            <a:solidFill>
              <a:srgbClr val="0070C0">
                <a:lumMod val="40000"/>
                <a:lumOff val="60000"/>
              </a:srgb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normAutofit fontScale="25000" lnSpcReduction="20000"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2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MH_Other_4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975847" y="3842708"/>
            <a:ext cx="1798462" cy="1004040"/>
          </a:xfrm>
          <a:prstGeom prst="line">
            <a:avLst/>
          </a:prstGeom>
          <a:noFill/>
          <a:ln w="38100" cap="rnd">
            <a:solidFill>
              <a:srgbClr val="0070C0">
                <a:lumMod val="40000"/>
                <a:lumOff val="60000"/>
              </a:srgb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normAutofit fontScale="25000" lnSpcReduction="20000"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2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MH_Other_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8628" y="2295804"/>
            <a:ext cx="2606608" cy="2606608"/>
          </a:xfrm>
          <a:prstGeom prst="ellipse">
            <a:avLst/>
          </a:prstGeom>
          <a:solidFill>
            <a:srgbClr val="0070C0">
              <a:lumMod val="40000"/>
              <a:lumOff val="60000"/>
            </a:srgbClr>
          </a:solidFill>
          <a:ln>
            <a:noFill/>
          </a:ln>
          <a:extLst/>
        </p:spPr>
        <p:txBody>
          <a:bodyPr lIns="0" tIns="0" rIns="0" bIns="0" anchor="ctr" anchorCtr="1">
            <a:normAutofit/>
          </a:bodyPr>
          <a:lstStyle>
            <a:lvl1pPr eaLnBrk="0" hangingPunct="0">
              <a:spcBef>
                <a:spcPct val="20000"/>
              </a:spcBef>
              <a:buChar char="•"/>
              <a:defRPr kumimoji="1" sz="28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4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0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bg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en-US" sz="2531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8" name="MH_Title_1"/>
          <p:cNvSpPr/>
          <p:nvPr>
            <p:custDataLst>
              <p:tags r:id="rId5"/>
            </p:custDataLst>
          </p:nvPr>
        </p:nvSpPr>
        <p:spPr>
          <a:xfrm>
            <a:off x="949692" y="2586868"/>
            <a:ext cx="2026154" cy="2026154"/>
          </a:xfrm>
          <a:prstGeom prst="ellipse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数据</a:t>
            </a:r>
            <a:endParaRPr kumimoji="0" lang="en-US" altLang="zh-CN" sz="3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应用</a:t>
            </a:r>
            <a:endParaRPr kumimoji="0" lang="zh-TW" altLang="en-U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828080" y="1592197"/>
            <a:ext cx="1690997" cy="470476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满足公众查询</a:t>
            </a:r>
            <a:endParaRPr lang="zh-CN" altLang="en-US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68005" y="1299897"/>
            <a:ext cx="2144083" cy="513211"/>
          </a:xfrm>
          <a:prstGeom prst="rect">
            <a:avLst/>
          </a:prstGeom>
        </p:spPr>
      </p:pic>
      <p:sp>
        <p:nvSpPr>
          <p:cNvPr id="32" name="矩形 31"/>
          <p:cNvSpPr/>
          <p:nvPr/>
        </p:nvSpPr>
        <p:spPr>
          <a:xfrm>
            <a:off x="4991610" y="3296490"/>
            <a:ext cx="1857183" cy="47047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市场监管</a:t>
            </a:r>
            <a:endParaRPr lang="zh-CN" altLang="en-US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0248" y="3766966"/>
            <a:ext cx="412692" cy="402153"/>
          </a:xfrm>
          <a:prstGeom prst="roundRect">
            <a:avLst>
              <a:gd name="adj" fmla="val 21515"/>
            </a:avLst>
          </a:prstGeom>
          <a:effectLst>
            <a:softEdge rad="25400"/>
          </a:effectLst>
        </p:spPr>
      </p:pic>
      <p:sp>
        <p:nvSpPr>
          <p:cNvPr id="34" name="文本框 33"/>
          <p:cNvSpPr txBox="1"/>
          <p:nvPr/>
        </p:nvSpPr>
        <p:spPr>
          <a:xfrm>
            <a:off x="7642997" y="3789449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88103"/>
            <a:r>
              <a:rPr lang="zh-CN" altLang="en-US" sz="1600" dirty="0">
                <a:solidFill>
                  <a:srgbClr val="002C6C"/>
                </a:solidFill>
                <a:latin typeface="Arial"/>
                <a:ea typeface="微软雅黑"/>
                <a:cs typeface="+mn-ea"/>
                <a:sym typeface="+mn-lt"/>
              </a:rPr>
              <a:t>食药云搜</a:t>
            </a:r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70067" y="2977972"/>
            <a:ext cx="572930" cy="677634"/>
          </a:xfrm>
          <a:prstGeom prst="rect">
            <a:avLst/>
          </a:prstGeom>
        </p:spPr>
      </p:pic>
      <p:sp>
        <p:nvSpPr>
          <p:cNvPr id="37" name="矩形 36"/>
          <p:cNvSpPr/>
          <p:nvPr/>
        </p:nvSpPr>
        <p:spPr>
          <a:xfrm>
            <a:off x="7643616" y="3240867"/>
            <a:ext cx="10054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市场抽检</a:t>
            </a:r>
            <a:endParaRPr lang="zh-CN" altLang="en-US" sz="180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4991611" y="4726563"/>
            <a:ext cx="1857183" cy="470476"/>
          </a:xfrm>
          <a:prstGeom prst="rect">
            <a:avLst/>
          </a:prstGeom>
          <a:solidFill>
            <a:srgbClr val="008DBD"/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供数据验证</a:t>
            </a:r>
            <a:endParaRPr lang="zh-CN" altLang="en-US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9" name="图片 38"/>
          <p:cNvPicPr>
            <a:picLocks noChangeAspect="1"/>
          </p:cNvPicPr>
          <p:nvPr/>
        </p:nvPicPr>
        <p:blipFill rotWithShape="1">
          <a:blip r:embed="rId14"/>
          <a:srcRect t="27540" b="13438"/>
          <a:stretch/>
        </p:blipFill>
        <p:spPr>
          <a:xfrm>
            <a:off x="6891601" y="5018025"/>
            <a:ext cx="1651425" cy="533400"/>
          </a:xfrm>
          <a:prstGeom prst="rect">
            <a:avLst/>
          </a:prstGeom>
        </p:spPr>
      </p:pic>
      <p:sp>
        <p:nvSpPr>
          <p:cNvPr id="40" name="矩形 39"/>
          <p:cNvSpPr/>
          <p:nvPr/>
        </p:nvSpPr>
        <p:spPr>
          <a:xfrm>
            <a:off x="7642997" y="4577877"/>
            <a:ext cx="25426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口消费品市场流通</a:t>
            </a:r>
            <a:endParaRPr lang="zh-CN" altLang="en-US" sz="180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8593216" y="5126459"/>
            <a:ext cx="10054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境贸易</a:t>
            </a:r>
            <a:endParaRPr lang="zh-CN" altLang="en-US" sz="180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2" name="图片 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08913" y="4472337"/>
            <a:ext cx="553600" cy="489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957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>
                <a:latin typeface="+mn-lt"/>
                <a:cs typeface="+mn-ea"/>
                <a:sym typeface="+mn-lt"/>
              </a:rPr>
              <a:t>14</a:t>
            </a:fld>
            <a:endParaRPr lang="en-GB" noProof="0">
              <a:latin typeface="+mn-lt"/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F4B51F2-3D9C-4065-9E50-CB1C29FA86C3}"/>
              </a:ext>
            </a:extLst>
          </p:cNvPr>
          <p:cNvGrpSpPr>
            <a:grpSpLocks noChangeAspect="1"/>
          </p:cNvGrpSpPr>
          <p:nvPr/>
        </p:nvGrpSpPr>
        <p:grpSpPr>
          <a:xfrm>
            <a:off x="723900" y="1245394"/>
            <a:ext cx="3477546" cy="3387116"/>
            <a:chOff x="4405374" y="1970717"/>
            <a:chExt cx="3378536" cy="3376380"/>
          </a:xfrm>
        </p:grpSpPr>
        <p:sp>
          <p:nvSpPr>
            <p:cNvPr id="6" name="îsḷîḓê">
              <a:extLst>
                <a:ext uri="{FF2B5EF4-FFF2-40B4-BE49-F238E27FC236}">
                  <a16:creationId xmlns:a16="http://schemas.microsoft.com/office/drawing/2014/main" id="{D23C865C-3D4B-47C6-8216-B359E44CF623}"/>
                </a:ext>
              </a:extLst>
            </p:cNvPr>
            <p:cNvSpPr/>
            <p:nvPr/>
          </p:nvSpPr>
          <p:spPr bwMode="auto">
            <a:xfrm>
              <a:off x="4408596" y="1970779"/>
              <a:ext cx="3375314" cy="337631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1119362">
                <a:defRPr/>
              </a:pPr>
              <a:endParaRPr sz="2205">
                <a:solidFill>
                  <a:srgbClr val="454545"/>
                </a:solidFill>
                <a:latin typeface="Arial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7" name="iślïḑé">
              <a:extLst>
                <a:ext uri="{FF2B5EF4-FFF2-40B4-BE49-F238E27FC236}">
                  <a16:creationId xmlns:a16="http://schemas.microsoft.com/office/drawing/2014/main" id="{36F59B5D-678C-4130-8998-B12730635C1C}"/>
                </a:ext>
              </a:extLst>
            </p:cNvPr>
            <p:cNvSpPr/>
            <p:nvPr/>
          </p:nvSpPr>
          <p:spPr bwMode="auto">
            <a:xfrm>
              <a:off x="4405374" y="1970717"/>
              <a:ext cx="3358043" cy="3173539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9327" y="0"/>
                  </a:moveTo>
                  <a:cubicBezTo>
                    <a:pt x="8042" y="194"/>
                    <a:pt x="6800" y="630"/>
                    <a:pt x="5660" y="1288"/>
                  </a:cubicBezTo>
                  <a:cubicBezTo>
                    <a:pt x="4451" y="1987"/>
                    <a:pt x="3379" y="2922"/>
                    <a:pt x="2500" y="4045"/>
                  </a:cubicBezTo>
                  <a:lnTo>
                    <a:pt x="2619" y="4152"/>
                  </a:lnTo>
                  <a:lnTo>
                    <a:pt x="2783" y="4205"/>
                  </a:lnTo>
                  <a:lnTo>
                    <a:pt x="2876" y="4198"/>
                  </a:lnTo>
                  <a:lnTo>
                    <a:pt x="2913" y="4135"/>
                  </a:lnTo>
                  <a:lnTo>
                    <a:pt x="2970" y="4135"/>
                  </a:lnTo>
                  <a:lnTo>
                    <a:pt x="2981" y="4194"/>
                  </a:lnTo>
                  <a:lnTo>
                    <a:pt x="2772" y="4291"/>
                  </a:lnTo>
                  <a:lnTo>
                    <a:pt x="2739" y="4374"/>
                  </a:lnTo>
                  <a:lnTo>
                    <a:pt x="2711" y="4438"/>
                  </a:lnTo>
                  <a:lnTo>
                    <a:pt x="2804" y="4460"/>
                  </a:lnTo>
                  <a:lnTo>
                    <a:pt x="2888" y="4395"/>
                  </a:lnTo>
                  <a:lnTo>
                    <a:pt x="3016" y="4383"/>
                  </a:lnTo>
                  <a:cubicBezTo>
                    <a:pt x="3025" y="4406"/>
                    <a:pt x="3046" y="4420"/>
                    <a:pt x="3069" y="4420"/>
                  </a:cubicBezTo>
                  <a:cubicBezTo>
                    <a:pt x="3112" y="4418"/>
                    <a:pt x="3136" y="4373"/>
                    <a:pt x="3161" y="4334"/>
                  </a:cubicBezTo>
                  <a:cubicBezTo>
                    <a:pt x="3186" y="4296"/>
                    <a:pt x="3219" y="4264"/>
                    <a:pt x="3257" y="4240"/>
                  </a:cubicBezTo>
                  <a:lnTo>
                    <a:pt x="3322" y="4155"/>
                  </a:lnTo>
                  <a:cubicBezTo>
                    <a:pt x="3305" y="4146"/>
                    <a:pt x="3286" y="4142"/>
                    <a:pt x="3267" y="4144"/>
                  </a:cubicBezTo>
                  <a:cubicBezTo>
                    <a:pt x="3239" y="4147"/>
                    <a:pt x="3214" y="4163"/>
                    <a:pt x="3198" y="4187"/>
                  </a:cubicBezTo>
                  <a:lnTo>
                    <a:pt x="3133" y="4222"/>
                  </a:lnTo>
                  <a:cubicBezTo>
                    <a:pt x="3125" y="4210"/>
                    <a:pt x="3121" y="4196"/>
                    <a:pt x="3120" y="4182"/>
                  </a:cubicBezTo>
                  <a:cubicBezTo>
                    <a:pt x="3119" y="4167"/>
                    <a:pt x="3122" y="4153"/>
                    <a:pt x="3128" y="4140"/>
                  </a:cubicBezTo>
                  <a:cubicBezTo>
                    <a:pt x="3143" y="4107"/>
                    <a:pt x="3175" y="4089"/>
                    <a:pt x="3201" y="4064"/>
                  </a:cubicBezTo>
                  <a:cubicBezTo>
                    <a:pt x="3226" y="4040"/>
                    <a:pt x="3244" y="4009"/>
                    <a:pt x="3253" y="3974"/>
                  </a:cubicBezTo>
                  <a:cubicBezTo>
                    <a:pt x="3253" y="3953"/>
                    <a:pt x="3255" y="3932"/>
                    <a:pt x="3263" y="3913"/>
                  </a:cubicBezTo>
                  <a:cubicBezTo>
                    <a:pt x="3281" y="3868"/>
                    <a:pt x="3321" y="3837"/>
                    <a:pt x="3367" y="3829"/>
                  </a:cubicBezTo>
                  <a:cubicBezTo>
                    <a:pt x="3391" y="3810"/>
                    <a:pt x="3415" y="3791"/>
                    <a:pt x="3439" y="3773"/>
                  </a:cubicBezTo>
                  <a:cubicBezTo>
                    <a:pt x="3474" y="3745"/>
                    <a:pt x="3509" y="3718"/>
                    <a:pt x="3544" y="3690"/>
                  </a:cubicBezTo>
                  <a:lnTo>
                    <a:pt x="3552" y="3559"/>
                  </a:lnTo>
                  <a:cubicBezTo>
                    <a:pt x="3513" y="3588"/>
                    <a:pt x="3457" y="3572"/>
                    <a:pt x="3437" y="3527"/>
                  </a:cubicBezTo>
                  <a:cubicBezTo>
                    <a:pt x="3369" y="3377"/>
                    <a:pt x="3644" y="3295"/>
                    <a:pt x="3663" y="3459"/>
                  </a:cubicBezTo>
                  <a:lnTo>
                    <a:pt x="3714" y="3504"/>
                  </a:lnTo>
                  <a:lnTo>
                    <a:pt x="3675" y="3563"/>
                  </a:lnTo>
                  <a:lnTo>
                    <a:pt x="3621" y="3605"/>
                  </a:lnTo>
                  <a:lnTo>
                    <a:pt x="3575" y="3743"/>
                  </a:lnTo>
                  <a:lnTo>
                    <a:pt x="3558" y="3820"/>
                  </a:lnTo>
                  <a:lnTo>
                    <a:pt x="3721" y="3775"/>
                  </a:lnTo>
                  <a:lnTo>
                    <a:pt x="3777" y="3696"/>
                  </a:lnTo>
                  <a:lnTo>
                    <a:pt x="3867" y="3696"/>
                  </a:lnTo>
                  <a:lnTo>
                    <a:pt x="3933" y="3701"/>
                  </a:lnTo>
                  <a:lnTo>
                    <a:pt x="3913" y="3775"/>
                  </a:lnTo>
                  <a:lnTo>
                    <a:pt x="3783" y="3833"/>
                  </a:lnTo>
                  <a:lnTo>
                    <a:pt x="3675" y="3924"/>
                  </a:lnTo>
                  <a:lnTo>
                    <a:pt x="3589" y="3987"/>
                  </a:lnTo>
                  <a:lnTo>
                    <a:pt x="3512" y="4037"/>
                  </a:lnTo>
                  <a:lnTo>
                    <a:pt x="3444" y="4122"/>
                  </a:lnTo>
                  <a:lnTo>
                    <a:pt x="3412" y="4197"/>
                  </a:lnTo>
                  <a:lnTo>
                    <a:pt x="3457" y="4343"/>
                  </a:lnTo>
                  <a:lnTo>
                    <a:pt x="3414" y="4378"/>
                  </a:lnTo>
                  <a:lnTo>
                    <a:pt x="3414" y="4457"/>
                  </a:lnTo>
                  <a:lnTo>
                    <a:pt x="3531" y="4433"/>
                  </a:lnTo>
                  <a:lnTo>
                    <a:pt x="3452" y="4533"/>
                  </a:lnTo>
                  <a:lnTo>
                    <a:pt x="3467" y="4592"/>
                  </a:lnTo>
                  <a:lnTo>
                    <a:pt x="3591" y="4533"/>
                  </a:lnTo>
                  <a:lnTo>
                    <a:pt x="3703" y="4409"/>
                  </a:lnTo>
                  <a:lnTo>
                    <a:pt x="3698" y="4326"/>
                  </a:lnTo>
                  <a:lnTo>
                    <a:pt x="3735" y="4255"/>
                  </a:lnTo>
                  <a:lnTo>
                    <a:pt x="3752" y="4185"/>
                  </a:lnTo>
                  <a:lnTo>
                    <a:pt x="3846" y="4103"/>
                  </a:lnTo>
                  <a:lnTo>
                    <a:pt x="3802" y="4048"/>
                  </a:lnTo>
                  <a:lnTo>
                    <a:pt x="3813" y="3966"/>
                  </a:lnTo>
                  <a:lnTo>
                    <a:pt x="3863" y="3929"/>
                  </a:lnTo>
                  <a:lnTo>
                    <a:pt x="3966" y="3890"/>
                  </a:lnTo>
                  <a:cubicBezTo>
                    <a:pt x="4007" y="3867"/>
                    <a:pt x="4045" y="3841"/>
                    <a:pt x="4083" y="3813"/>
                  </a:cubicBezTo>
                  <a:cubicBezTo>
                    <a:pt x="4142" y="3768"/>
                    <a:pt x="4197" y="3717"/>
                    <a:pt x="4247" y="3660"/>
                  </a:cubicBezTo>
                  <a:cubicBezTo>
                    <a:pt x="4258" y="3645"/>
                    <a:pt x="4269" y="3629"/>
                    <a:pt x="4280" y="3613"/>
                  </a:cubicBezTo>
                  <a:cubicBezTo>
                    <a:pt x="4310" y="3571"/>
                    <a:pt x="4339" y="3528"/>
                    <a:pt x="4368" y="3485"/>
                  </a:cubicBezTo>
                  <a:cubicBezTo>
                    <a:pt x="4357" y="3435"/>
                    <a:pt x="4367" y="3383"/>
                    <a:pt x="4396" y="3343"/>
                  </a:cubicBezTo>
                  <a:cubicBezTo>
                    <a:pt x="4414" y="3318"/>
                    <a:pt x="4438" y="3300"/>
                    <a:pt x="4465" y="3289"/>
                  </a:cubicBezTo>
                  <a:lnTo>
                    <a:pt x="4534" y="3261"/>
                  </a:lnTo>
                  <a:lnTo>
                    <a:pt x="4566" y="3132"/>
                  </a:lnTo>
                  <a:lnTo>
                    <a:pt x="4588" y="3057"/>
                  </a:lnTo>
                  <a:lnTo>
                    <a:pt x="4622" y="2988"/>
                  </a:lnTo>
                  <a:lnTo>
                    <a:pt x="4823" y="2788"/>
                  </a:lnTo>
                  <a:lnTo>
                    <a:pt x="4998" y="2630"/>
                  </a:lnTo>
                  <a:lnTo>
                    <a:pt x="5110" y="2560"/>
                  </a:lnTo>
                  <a:cubicBezTo>
                    <a:pt x="5128" y="2540"/>
                    <a:pt x="5145" y="2519"/>
                    <a:pt x="5162" y="2497"/>
                  </a:cubicBezTo>
                  <a:cubicBezTo>
                    <a:pt x="5194" y="2457"/>
                    <a:pt x="5224" y="2414"/>
                    <a:pt x="5249" y="2369"/>
                  </a:cubicBezTo>
                  <a:lnTo>
                    <a:pt x="5277" y="2310"/>
                  </a:lnTo>
                  <a:lnTo>
                    <a:pt x="5188" y="2343"/>
                  </a:lnTo>
                  <a:lnTo>
                    <a:pt x="5032" y="2437"/>
                  </a:lnTo>
                  <a:lnTo>
                    <a:pt x="4963" y="2437"/>
                  </a:lnTo>
                  <a:cubicBezTo>
                    <a:pt x="4944" y="2424"/>
                    <a:pt x="4931" y="2404"/>
                    <a:pt x="4926" y="2381"/>
                  </a:cubicBezTo>
                  <a:cubicBezTo>
                    <a:pt x="4913" y="2314"/>
                    <a:pt x="4969" y="2255"/>
                    <a:pt x="5033" y="2268"/>
                  </a:cubicBezTo>
                  <a:lnTo>
                    <a:pt x="5098" y="2235"/>
                  </a:lnTo>
                  <a:cubicBezTo>
                    <a:pt x="5137" y="2208"/>
                    <a:pt x="5175" y="2180"/>
                    <a:pt x="5213" y="2152"/>
                  </a:cubicBezTo>
                  <a:cubicBezTo>
                    <a:pt x="5239" y="2133"/>
                    <a:pt x="5266" y="2114"/>
                    <a:pt x="5291" y="2095"/>
                  </a:cubicBezTo>
                  <a:lnTo>
                    <a:pt x="5366" y="2041"/>
                  </a:lnTo>
                  <a:lnTo>
                    <a:pt x="5503" y="1929"/>
                  </a:lnTo>
                  <a:cubicBezTo>
                    <a:pt x="5506" y="1925"/>
                    <a:pt x="5509" y="1922"/>
                    <a:pt x="5513" y="1918"/>
                  </a:cubicBezTo>
                  <a:cubicBezTo>
                    <a:pt x="5516" y="1914"/>
                    <a:pt x="5519" y="1911"/>
                    <a:pt x="5522" y="1907"/>
                  </a:cubicBezTo>
                  <a:cubicBezTo>
                    <a:pt x="5525" y="1904"/>
                    <a:pt x="5529" y="1900"/>
                    <a:pt x="5532" y="1896"/>
                  </a:cubicBezTo>
                  <a:cubicBezTo>
                    <a:pt x="5535" y="1893"/>
                    <a:pt x="5538" y="1889"/>
                    <a:pt x="5541" y="1886"/>
                  </a:cubicBezTo>
                  <a:cubicBezTo>
                    <a:pt x="5552" y="1873"/>
                    <a:pt x="5562" y="1860"/>
                    <a:pt x="5573" y="1846"/>
                  </a:cubicBezTo>
                  <a:cubicBezTo>
                    <a:pt x="5583" y="1833"/>
                    <a:pt x="5593" y="1820"/>
                    <a:pt x="5602" y="1806"/>
                  </a:cubicBezTo>
                  <a:lnTo>
                    <a:pt x="5642" y="1669"/>
                  </a:lnTo>
                  <a:lnTo>
                    <a:pt x="5497" y="1732"/>
                  </a:lnTo>
                  <a:cubicBezTo>
                    <a:pt x="5462" y="1754"/>
                    <a:pt x="5424" y="1771"/>
                    <a:pt x="5384" y="1783"/>
                  </a:cubicBezTo>
                  <a:cubicBezTo>
                    <a:pt x="5335" y="1798"/>
                    <a:pt x="5285" y="1805"/>
                    <a:pt x="5234" y="1804"/>
                  </a:cubicBezTo>
                  <a:lnTo>
                    <a:pt x="5484" y="1676"/>
                  </a:lnTo>
                  <a:lnTo>
                    <a:pt x="5531" y="1636"/>
                  </a:lnTo>
                  <a:lnTo>
                    <a:pt x="5726" y="1626"/>
                  </a:lnTo>
                  <a:lnTo>
                    <a:pt x="5786" y="1615"/>
                  </a:lnTo>
                  <a:lnTo>
                    <a:pt x="5896" y="1621"/>
                  </a:lnTo>
                  <a:lnTo>
                    <a:pt x="5868" y="1682"/>
                  </a:lnTo>
                  <a:cubicBezTo>
                    <a:pt x="5840" y="1694"/>
                    <a:pt x="5814" y="1710"/>
                    <a:pt x="5788" y="1726"/>
                  </a:cubicBezTo>
                  <a:cubicBezTo>
                    <a:pt x="5749" y="1751"/>
                    <a:pt x="5712" y="1778"/>
                    <a:pt x="5678" y="1810"/>
                  </a:cubicBezTo>
                  <a:lnTo>
                    <a:pt x="5578" y="1946"/>
                  </a:lnTo>
                  <a:lnTo>
                    <a:pt x="5573" y="2010"/>
                  </a:lnTo>
                  <a:lnTo>
                    <a:pt x="5523" y="2044"/>
                  </a:lnTo>
                  <a:lnTo>
                    <a:pt x="5428" y="2110"/>
                  </a:lnTo>
                  <a:lnTo>
                    <a:pt x="5371" y="2191"/>
                  </a:lnTo>
                  <a:lnTo>
                    <a:pt x="5409" y="2242"/>
                  </a:lnTo>
                  <a:cubicBezTo>
                    <a:pt x="5440" y="2223"/>
                    <a:pt x="5472" y="2204"/>
                    <a:pt x="5503" y="2183"/>
                  </a:cubicBezTo>
                  <a:cubicBezTo>
                    <a:pt x="5531" y="2164"/>
                    <a:pt x="5558" y="2144"/>
                    <a:pt x="5585" y="2123"/>
                  </a:cubicBezTo>
                  <a:lnTo>
                    <a:pt x="5646" y="2099"/>
                  </a:lnTo>
                  <a:lnTo>
                    <a:pt x="5759" y="2088"/>
                  </a:lnTo>
                  <a:lnTo>
                    <a:pt x="5819" y="2054"/>
                  </a:lnTo>
                  <a:lnTo>
                    <a:pt x="5938" y="1968"/>
                  </a:lnTo>
                  <a:lnTo>
                    <a:pt x="5933" y="1892"/>
                  </a:lnTo>
                  <a:lnTo>
                    <a:pt x="6054" y="1799"/>
                  </a:lnTo>
                  <a:lnTo>
                    <a:pt x="6122" y="1759"/>
                  </a:lnTo>
                  <a:lnTo>
                    <a:pt x="6244" y="1688"/>
                  </a:lnTo>
                  <a:lnTo>
                    <a:pt x="6278" y="1754"/>
                  </a:lnTo>
                  <a:lnTo>
                    <a:pt x="6195" y="1802"/>
                  </a:lnTo>
                  <a:lnTo>
                    <a:pt x="6085" y="1854"/>
                  </a:lnTo>
                  <a:lnTo>
                    <a:pt x="6044" y="1913"/>
                  </a:lnTo>
                  <a:lnTo>
                    <a:pt x="6183" y="1940"/>
                  </a:lnTo>
                  <a:lnTo>
                    <a:pt x="6262" y="1904"/>
                  </a:lnTo>
                  <a:lnTo>
                    <a:pt x="6331" y="1864"/>
                  </a:lnTo>
                  <a:lnTo>
                    <a:pt x="6441" y="1748"/>
                  </a:lnTo>
                  <a:lnTo>
                    <a:pt x="6497" y="1679"/>
                  </a:lnTo>
                  <a:lnTo>
                    <a:pt x="6572" y="1586"/>
                  </a:lnTo>
                  <a:lnTo>
                    <a:pt x="6649" y="1509"/>
                  </a:lnTo>
                  <a:lnTo>
                    <a:pt x="6722" y="1468"/>
                  </a:lnTo>
                  <a:lnTo>
                    <a:pt x="6856" y="1403"/>
                  </a:lnTo>
                  <a:lnTo>
                    <a:pt x="6996" y="1349"/>
                  </a:lnTo>
                  <a:lnTo>
                    <a:pt x="7097" y="1279"/>
                  </a:lnTo>
                  <a:cubicBezTo>
                    <a:pt x="7108" y="1261"/>
                    <a:pt x="7120" y="1245"/>
                    <a:pt x="7133" y="1229"/>
                  </a:cubicBezTo>
                  <a:cubicBezTo>
                    <a:pt x="7174" y="1179"/>
                    <a:pt x="7226" y="1140"/>
                    <a:pt x="7285" y="1116"/>
                  </a:cubicBezTo>
                  <a:lnTo>
                    <a:pt x="7413" y="1080"/>
                  </a:lnTo>
                  <a:lnTo>
                    <a:pt x="7507" y="1026"/>
                  </a:lnTo>
                  <a:cubicBezTo>
                    <a:pt x="7533" y="1009"/>
                    <a:pt x="7557" y="989"/>
                    <a:pt x="7579" y="967"/>
                  </a:cubicBezTo>
                  <a:cubicBezTo>
                    <a:pt x="7610" y="936"/>
                    <a:pt x="7638" y="902"/>
                    <a:pt x="7660" y="863"/>
                  </a:cubicBezTo>
                  <a:lnTo>
                    <a:pt x="7688" y="772"/>
                  </a:lnTo>
                  <a:lnTo>
                    <a:pt x="7688" y="708"/>
                  </a:lnTo>
                  <a:lnTo>
                    <a:pt x="7583" y="712"/>
                  </a:lnTo>
                  <a:lnTo>
                    <a:pt x="7415" y="709"/>
                  </a:lnTo>
                  <a:lnTo>
                    <a:pt x="7526" y="632"/>
                  </a:lnTo>
                  <a:lnTo>
                    <a:pt x="7735" y="574"/>
                  </a:lnTo>
                  <a:lnTo>
                    <a:pt x="7861" y="541"/>
                  </a:lnTo>
                  <a:cubicBezTo>
                    <a:pt x="7894" y="532"/>
                    <a:pt x="7927" y="524"/>
                    <a:pt x="7961" y="517"/>
                  </a:cubicBezTo>
                  <a:cubicBezTo>
                    <a:pt x="7988" y="512"/>
                    <a:pt x="8015" y="507"/>
                    <a:pt x="8043" y="504"/>
                  </a:cubicBezTo>
                  <a:lnTo>
                    <a:pt x="7995" y="609"/>
                  </a:lnTo>
                  <a:lnTo>
                    <a:pt x="7904" y="663"/>
                  </a:lnTo>
                  <a:lnTo>
                    <a:pt x="7858" y="702"/>
                  </a:lnTo>
                  <a:lnTo>
                    <a:pt x="7808" y="767"/>
                  </a:lnTo>
                  <a:lnTo>
                    <a:pt x="7906" y="836"/>
                  </a:lnTo>
                  <a:lnTo>
                    <a:pt x="8035" y="747"/>
                  </a:lnTo>
                  <a:lnTo>
                    <a:pt x="8067" y="678"/>
                  </a:lnTo>
                  <a:lnTo>
                    <a:pt x="8128" y="606"/>
                  </a:lnTo>
                  <a:lnTo>
                    <a:pt x="8209" y="624"/>
                  </a:lnTo>
                  <a:lnTo>
                    <a:pt x="8165" y="683"/>
                  </a:lnTo>
                  <a:lnTo>
                    <a:pt x="8112" y="772"/>
                  </a:lnTo>
                  <a:lnTo>
                    <a:pt x="8229" y="782"/>
                  </a:lnTo>
                  <a:lnTo>
                    <a:pt x="8340" y="758"/>
                  </a:lnTo>
                  <a:cubicBezTo>
                    <a:pt x="8391" y="759"/>
                    <a:pt x="8443" y="759"/>
                    <a:pt x="8494" y="758"/>
                  </a:cubicBezTo>
                  <a:cubicBezTo>
                    <a:pt x="8539" y="757"/>
                    <a:pt x="8583" y="755"/>
                    <a:pt x="8627" y="752"/>
                  </a:cubicBezTo>
                  <a:lnTo>
                    <a:pt x="8791" y="752"/>
                  </a:lnTo>
                  <a:cubicBezTo>
                    <a:pt x="8831" y="753"/>
                    <a:pt x="8871" y="754"/>
                    <a:pt x="8912" y="758"/>
                  </a:cubicBezTo>
                  <a:cubicBezTo>
                    <a:pt x="8969" y="762"/>
                    <a:pt x="9026" y="769"/>
                    <a:pt x="9083" y="779"/>
                  </a:cubicBezTo>
                  <a:cubicBezTo>
                    <a:pt x="9091" y="802"/>
                    <a:pt x="9086" y="827"/>
                    <a:pt x="9071" y="845"/>
                  </a:cubicBezTo>
                  <a:cubicBezTo>
                    <a:pt x="9042" y="881"/>
                    <a:pt x="8989" y="877"/>
                    <a:pt x="8964" y="837"/>
                  </a:cubicBezTo>
                  <a:lnTo>
                    <a:pt x="8884" y="837"/>
                  </a:lnTo>
                  <a:lnTo>
                    <a:pt x="8793" y="843"/>
                  </a:lnTo>
                  <a:lnTo>
                    <a:pt x="8600" y="829"/>
                  </a:lnTo>
                  <a:lnTo>
                    <a:pt x="8353" y="828"/>
                  </a:lnTo>
                  <a:lnTo>
                    <a:pt x="8293" y="858"/>
                  </a:lnTo>
                  <a:cubicBezTo>
                    <a:pt x="8271" y="855"/>
                    <a:pt x="8249" y="855"/>
                    <a:pt x="8228" y="858"/>
                  </a:cubicBezTo>
                  <a:cubicBezTo>
                    <a:pt x="8187" y="862"/>
                    <a:pt x="8147" y="874"/>
                    <a:pt x="8110" y="893"/>
                  </a:cubicBezTo>
                  <a:cubicBezTo>
                    <a:pt x="8080" y="900"/>
                    <a:pt x="8051" y="913"/>
                    <a:pt x="8026" y="932"/>
                  </a:cubicBezTo>
                  <a:cubicBezTo>
                    <a:pt x="8009" y="944"/>
                    <a:pt x="7994" y="959"/>
                    <a:pt x="7981" y="975"/>
                  </a:cubicBezTo>
                  <a:lnTo>
                    <a:pt x="8054" y="1076"/>
                  </a:lnTo>
                  <a:cubicBezTo>
                    <a:pt x="8036" y="1114"/>
                    <a:pt x="8008" y="1145"/>
                    <a:pt x="7975" y="1168"/>
                  </a:cubicBezTo>
                  <a:cubicBezTo>
                    <a:pt x="7935" y="1196"/>
                    <a:pt x="7889" y="1211"/>
                    <a:pt x="7841" y="1210"/>
                  </a:cubicBezTo>
                  <a:cubicBezTo>
                    <a:pt x="7809" y="1216"/>
                    <a:pt x="7777" y="1223"/>
                    <a:pt x="7745" y="1233"/>
                  </a:cubicBezTo>
                  <a:cubicBezTo>
                    <a:pt x="7693" y="1249"/>
                    <a:pt x="7643" y="1272"/>
                    <a:pt x="7595" y="1299"/>
                  </a:cubicBezTo>
                  <a:lnTo>
                    <a:pt x="7533" y="1352"/>
                  </a:lnTo>
                  <a:lnTo>
                    <a:pt x="7472" y="1406"/>
                  </a:lnTo>
                  <a:lnTo>
                    <a:pt x="7385" y="1451"/>
                  </a:lnTo>
                  <a:lnTo>
                    <a:pt x="7231" y="1487"/>
                  </a:lnTo>
                  <a:lnTo>
                    <a:pt x="7253" y="1563"/>
                  </a:lnTo>
                  <a:lnTo>
                    <a:pt x="7325" y="1569"/>
                  </a:lnTo>
                  <a:lnTo>
                    <a:pt x="7293" y="1646"/>
                  </a:lnTo>
                  <a:lnTo>
                    <a:pt x="7217" y="1686"/>
                  </a:lnTo>
                  <a:lnTo>
                    <a:pt x="7124" y="1691"/>
                  </a:lnTo>
                  <a:lnTo>
                    <a:pt x="7097" y="1744"/>
                  </a:lnTo>
                  <a:lnTo>
                    <a:pt x="7064" y="1792"/>
                  </a:lnTo>
                  <a:lnTo>
                    <a:pt x="6907" y="1803"/>
                  </a:lnTo>
                  <a:lnTo>
                    <a:pt x="6825" y="1844"/>
                  </a:lnTo>
                  <a:lnTo>
                    <a:pt x="6696" y="1884"/>
                  </a:lnTo>
                  <a:lnTo>
                    <a:pt x="6603" y="1925"/>
                  </a:lnTo>
                  <a:lnTo>
                    <a:pt x="6519" y="1948"/>
                  </a:lnTo>
                  <a:lnTo>
                    <a:pt x="6394" y="2006"/>
                  </a:lnTo>
                  <a:lnTo>
                    <a:pt x="6321" y="2071"/>
                  </a:lnTo>
                  <a:lnTo>
                    <a:pt x="6225" y="2164"/>
                  </a:lnTo>
                  <a:lnTo>
                    <a:pt x="6161" y="2237"/>
                  </a:lnTo>
                  <a:lnTo>
                    <a:pt x="6098" y="2327"/>
                  </a:lnTo>
                  <a:lnTo>
                    <a:pt x="5983" y="2399"/>
                  </a:lnTo>
                  <a:lnTo>
                    <a:pt x="5899" y="2508"/>
                  </a:lnTo>
                  <a:lnTo>
                    <a:pt x="5832" y="2569"/>
                  </a:lnTo>
                  <a:lnTo>
                    <a:pt x="5744" y="2688"/>
                  </a:lnTo>
                  <a:lnTo>
                    <a:pt x="5678" y="2753"/>
                  </a:lnTo>
                  <a:lnTo>
                    <a:pt x="5655" y="2858"/>
                  </a:lnTo>
                  <a:lnTo>
                    <a:pt x="5687" y="2951"/>
                  </a:lnTo>
                  <a:lnTo>
                    <a:pt x="5636" y="3084"/>
                  </a:lnTo>
                  <a:lnTo>
                    <a:pt x="5706" y="3127"/>
                  </a:lnTo>
                  <a:cubicBezTo>
                    <a:pt x="5743" y="3100"/>
                    <a:pt x="5781" y="3075"/>
                    <a:pt x="5821" y="3054"/>
                  </a:cubicBezTo>
                  <a:cubicBezTo>
                    <a:pt x="5855" y="3036"/>
                    <a:pt x="5890" y="3019"/>
                    <a:pt x="5925" y="3005"/>
                  </a:cubicBezTo>
                  <a:lnTo>
                    <a:pt x="6103" y="2916"/>
                  </a:lnTo>
                  <a:lnTo>
                    <a:pt x="6233" y="2858"/>
                  </a:lnTo>
                  <a:cubicBezTo>
                    <a:pt x="6266" y="2841"/>
                    <a:pt x="6298" y="2821"/>
                    <a:pt x="6329" y="2799"/>
                  </a:cubicBezTo>
                  <a:cubicBezTo>
                    <a:pt x="6371" y="2768"/>
                    <a:pt x="6410" y="2732"/>
                    <a:pt x="6445" y="2692"/>
                  </a:cubicBezTo>
                  <a:lnTo>
                    <a:pt x="6537" y="2597"/>
                  </a:lnTo>
                  <a:lnTo>
                    <a:pt x="6593" y="2585"/>
                  </a:lnTo>
                  <a:lnTo>
                    <a:pt x="6769" y="2585"/>
                  </a:lnTo>
                  <a:lnTo>
                    <a:pt x="6909" y="2615"/>
                  </a:lnTo>
                  <a:cubicBezTo>
                    <a:pt x="6924" y="2600"/>
                    <a:pt x="6940" y="2587"/>
                    <a:pt x="6958" y="2576"/>
                  </a:cubicBezTo>
                  <a:cubicBezTo>
                    <a:pt x="7012" y="2542"/>
                    <a:pt x="7075" y="2529"/>
                    <a:pt x="7137" y="2512"/>
                  </a:cubicBezTo>
                  <a:cubicBezTo>
                    <a:pt x="7192" y="2497"/>
                    <a:pt x="7246" y="2477"/>
                    <a:pt x="7299" y="2453"/>
                  </a:cubicBezTo>
                  <a:lnTo>
                    <a:pt x="7411" y="2435"/>
                  </a:lnTo>
                  <a:cubicBezTo>
                    <a:pt x="7438" y="2442"/>
                    <a:pt x="7465" y="2447"/>
                    <a:pt x="7493" y="2450"/>
                  </a:cubicBezTo>
                  <a:cubicBezTo>
                    <a:pt x="7577" y="2461"/>
                    <a:pt x="7662" y="2458"/>
                    <a:pt x="7745" y="2439"/>
                  </a:cubicBezTo>
                  <a:lnTo>
                    <a:pt x="8054" y="2427"/>
                  </a:lnTo>
                  <a:lnTo>
                    <a:pt x="8180" y="2397"/>
                  </a:lnTo>
                  <a:lnTo>
                    <a:pt x="8246" y="2311"/>
                  </a:lnTo>
                  <a:cubicBezTo>
                    <a:pt x="8272" y="2279"/>
                    <a:pt x="8297" y="2245"/>
                    <a:pt x="8320" y="2210"/>
                  </a:cubicBezTo>
                  <a:cubicBezTo>
                    <a:pt x="8343" y="2172"/>
                    <a:pt x="8363" y="2133"/>
                    <a:pt x="8382" y="2092"/>
                  </a:cubicBezTo>
                  <a:cubicBezTo>
                    <a:pt x="8413" y="2086"/>
                    <a:pt x="8444" y="2076"/>
                    <a:pt x="8473" y="2062"/>
                  </a:cubicBezTo>
                  <a:cubicBezTo>
                    <a:pt x="8514" y="2044"/>
                    <a:pt x="8552" y="2019"/>
                    <a:pt x="8586" y="1988"/>
                  </a:cubicBezTo>
                  <a:lnTo>
                    <a:pt x="8665" y="1988"/>
                  </a:lnTo>
                  <a:cubicBezTo>
                    <a:pt x="8699" y="1991"/>
                    <a:pt x="8732" y="1980"/>
                    <a:pt x="8759" y="1958"/>
                  </a:cubicBezTo>
                  <a:cubicBezTo>
                    <a:pt x="8779" y="1942"/>
                    <a:pt x="8794" y="1920"/>
                    <a:pt x="8803" y="1895"/>
                  </a:cubicBezTo>
                  <a:lnTo>
                    <a:pt x="8927" y="1860"/>
                  </a:lnTo>
                  <a:lnTo>
                    <a:pt x="8976" y="1802"/>
                  </a:lnTo>
                  <a:lnTo>
                    <a:pt x="9013" y="1760"/>
                  </a:lnTo>
                  <a:cubicBezTo>
                    <a:pt x="9017" y="1751"/>
                    <a:pt x="9018" y="1740"/>
                    <a:pt x="9015" y="1730"/>
                  </a:cubicBezTo>
                  <a:cubicBezTo>
                    <a:pt x="9011" y="1718"/>
                    <a:pt x="9003" y="1715"/>
                    <a:pt x="8996" y="1709"/>
                  </a:cubicBezTo>
                  <a:lnTo>
                    <a:pt x="9099" y="1633"/>
                  </a:lnTo>
                  <a:lnTo>
                    <a:pt x="9217" y="1633"/>
                  </a:lnTo>
                  <a:lnTo>
                    <a:pt x="9261" y="1571"/>
                  </a:lnTo>
                  <a:lnTo>
                    <a:pt x="9290" y="1488"/>
                  </a:lnTo>
                  <a:lnTo>
                    <a:pt x="9367" y="1394"/>
                  </a:lnTo>
                  <a:lnTo>
                    <a:pt x="9498" y="1322"/>
                  </a:lnTo>
                  <a:lnTo>
                    <a:pt x="9605" y="1293"/>
                  </a:lnTo>
                  <a:lnTo>
                    <a:pt x="9723" y="1263"/>
                  </a:lnTo>
                  <a:lnTo>
                    <a:pt x="9824" y="1234"/>
                  </a:lnTo>
                  <a:lnTo>
                    <a:pt x="9915" y="1189"/>
                  </a:lnTo>
                  <a:lnTo>
                    <a:pt x="9797" y="1156"/>
                  </a:lnTo>
                  <a:lnTo>
                    <a:pt x="9757" y="1067"/>
                  </a:lnTo>
                  <a:lnTo>
                    <a:pt x="9808" y="997"/>
                  </a:lnTo>
                  <a:lnTo>
                    <a:pt x="9808" y="933"/>
                  </a:lnTo>
                  <a:lnTo>
                    <a:pt x="9734" y="874"/>
                  </a:lnTo>
                  <a:lnTo>
                    <a:pt x="9596" y="856"/>
                  </a:lnTo>
                  <a:lnTo>
                    <a:pt x="9484" y="849"/>
                  </a:lnTo>
                  <a:lnTo>
                    <a:pt x="9385" y="856"/>
                  </a:lnTo>
                  <a:lnTo>
                    <a:pt x="9319" y="856"/>
                  </a:lnTo>
                  <a:lnTo>
                    <a:pt x="9232" y="849"/>
                  </a:lnTo>
                  <a:lnTo>
                    <a:pt x="9232" y="781"/>
                  </a:lnTo>
                  <a:lnTo>
                    <a:pt x="9161" y="798"/>
                  </a:lnTo>
                  <a:lnTo>
                    <a:pt x="9332" y="729"/>
                  </a:lnTo>
                  <a:lnTo>
                    <a:pt x="9417" y="643"/>
                  </a:lnTo>
                  <a:lnTo>
                    <a:pt x="9421" y="556"/>
                  </a:lnTo>
                  <a:lnTo>
                    <a:pt x="9334" y="579"/>
                  </a:lnTo>
                  <a:lnTo>
                    <a:pt x="9292" y="486"/>
                  </a:lnTo>
                  <a:lnTo>
                    <a:pt x="9157" y="450"/>
                  </a:lnTo>
                  <a:lnTo>
                    <a:pt x="9022" y="442"/>
                  </a:lnTo>
                  <a:lnTo>
                    <a:pt x="8933" y="447"/>
                  </a:lnTo>
                  <a:lnTo>
                    <a:pt x="8873" y="459"/>
                  </a:lnTo>
                  <a:lnTo>
                    <a:pt x="8722" y="464"/>
                  </a:lnTo>
                  <a:lnTo>
                    <a:pt x="8632" y="494"/>
                  </a:lnTo>
                  <a:lnTo>
                    <a:pt x="8590" y="551"/>
                  </a:lnTo>
                  <a:lnTo>
                    <a:pt x="8478" y="597"/>
                  </a:lnTo>
                  <a:lnTo>
                    <a:pt x="8385" y="597"/>
                  </a:lnTo>
                  <a:lnTo>
                    <a:pt x="8335" y="562"/>
                  </a:lnTo>
                  <a:lnTo>
                    <a:pt x="8406" y="473"/>
                  </a:lnTo>
                  <a:lnTo>
                    <a:pt x="8501" y="506"/>
                  </a:lnTo>
                  <a:lnTo>
                    <a:pt x="8665" y="421"/>
                  </a:lnTo>
                  <a:lnTo>
                    <a:pt x="8787" y="392"/>
                  </a:lnTo>
                  <a:lnTo>
                    <a:pt x="8894" y="371"/>
                  </a:lnTo>
                  <a:lnTo>
                    <a:pt x="9043" y="355"/>
                  </a:lnTo>
                  <a:lnTo>
                    <a:pt x="9075" y="273"/>
                  </a:lnTo>
                  <a:lnTo>
                    <a:pt x="9214" y="197"/>
                  </a:lnTo>
                  <a:lnTo>
                    <a:pt x="9327" y="0"/>
                  </a:lnTo>
                  <a:close/>
                  <a:moveTo>
                    <a:pt x="13362" y="198"/>
                  </a:moveTo>
                  <a:lnTo>
                    <a:pt x="13879" y="555"/>
                  </a:lnTo>
                  <a:lnTo>
                    <a:pt x="13814" y="591"/>
                  </a:lnTo>
                  <a:lnTo>
                    <a:pt x="13774" y="633"/>
                  </a:lnTo>
                  <a:lnTo>
                    <a:pt x="13849" y="674"/>
                  </a:lnTo>
                  <a:lnTo>
                    <a:pt x="13936" y="694"/>
                  </a:lnTo>
                  <a:lnTo>
                    <a:pt x="13991" y="712"/>
                  </a:lnTo>
                  <a:lnTo>
                    <a:pt x="13973" y="768"/>
                  </a:lnTo>
                  <a:lnTo>
                    <a:pt x="13908" y="785"/>
                  </a:lnTo>
                  <a:lnTo>
                    <a:pt x="13927" y="872"/>
                  </a:lnTo>
                  <a:lnTo>
                    <a:pt x="13852" y="951"/>
                  </a:lnTo>
                  <a:lnTo>
                    <a:pt x="13740" y="876"/>
                  </a:lnTo>
                  <a:lnTo>
                    <a:pt x="13627" y="794"/>
                  </a:lnTo>
                  <a:cubicBezTo>
                    <a:pt x="13604" y="773"/>
                    <a:pt x="13577" y="758"/>
                    <a:pt x="13548" y="749"/>
                  </a:cubicBezTo>
                  <a:cubicBezTo>
                    <a:pt x="13518" y="741"/>
                    <a:pt x="13488" y="738"/>
                    <a:pt x="13458" y="743"/>
                  </a:cubicBezTo>
                  <a:cubicBezTo>
                    <a:pt x="13437" y="745"/>
                    <a:pt x="13417" y="751"/>
                    <a:pt x="13398" y="759"/>
                  </a:cubicBezTo>
                  <a:cubicBezTo>
                    <a:pt x="13379" y="768"/>
                    <a:pt x="13361" y="780"/>
                    <a:pt x="13345" y="794"/>
                  </a:cubicBezTo>
                  <a:lnTo>
                    <a:pt x="13245" y="821"/>
                  </a:lnTo>
                  <a:lnTo>
                    <a:pt x="13183" y="827"/>
                  </a:lnTo>
                  <a:lnTo>
                    <a:pt x="13107" y="770"/>
                  </a:lnTo>
                  <a:lnTo>
                    <a:pt x="12943" y="759"/>
                  </a:lnTo>
                  <a:lnTo>
                    <a:pt x="12866" y="805"/>
                  </a:lnTo>
                  <a:lnTo>
                    <a:pt x="12771" y="799"/>
                  </a:lnTo>
                  <a:lnTo>
                    <a:pt x="12684" y="787"/>
                  </a:lnTo>
                  <a:lnTo>
                    <a:pt x="12539" y="745"/>
                  </a:lnTo>
                  <a:lnTo>
                    <a:pt x="12361" y="782"/>
                  </a:lnTo>
                  <a:lnTo>
                    <a:pt x="12426" y="859"/>
                  </a:lnTo>
                  <a:lnTo>
                    <a:pt x="12543" y="887"/>
                  </a:lnTo>
                  <a:lnTo>
                    <a:pt x="12652" y="929"/>
                  </a:lnTo>
                  <a:lnTo>
                    <a:pt x="12737" y="936"/>
                  </a:lnTo>
                  <a:lnTo>
                    <a:pt x="12818" y="924"/>
                  </a:lnTo>
                  <a:cubicBezTo>
                    <a:pt x="12849" y="906"/>
                    <a:pt x="12881" y="893"/>
                    <a:pt x="12915" y="886"/>
                  </a:cubicBezTo>
                  <a:cubicBezTo>
                    <a:pt x="12959" y="877"/>
                    <a:pt x="13004" y="877"/>
                    <a:pt x="13047" y="886"/>
                  </a:cubicBezTo>
                  <a:lnTo>
                    <a:pt x="13164" y="903"/>
                  </a:lnTo>
                  <a:lnTo>
                    <a:pt x="13241" y="903"/>
                  </a:lnTo>
                  <a:lnTo>
                    <a:pt x="13363" y="929"/>
                  </a:lnTo>
                  <a:lnTo>
                    <a:pt x="13445" y="963"/>
                  </a:lnTo>
                  <a:lnTo>
                    <a:pt x="13370" y="1001"/>
                  </a:lnTo>
                  <a:lnTo>
                    <a:pt x="13285" y="976"/>
                  </a:lnTo>
                  <a:lnTo>
                    <a:pt x="13297" y="1060"/>
                  </a:lnTo>
                  <a:lnTo>
                    <a:pt x="13371" y="1087"/>
                  </a:lnTo>
                  <a:lnTo>
                    <a:pt x="13436" y="1166"/>
                  </a:lnTo>
                  <a:lnTo>
                    <a:pt x="13445" y="1263"/>
                  </a:lnTo>
                  <a:lnTo>
                    <a:pt x="13468" y="1355"/>
                  </a:lnTo>
                  <a:lnTo>
                    <a:pt x="13541" y="1395"/>
                  </a:lnTo>
                  <a:lnTo>
                    <a:pt x="13643" y="1405"/>
                  </a:lnTo>
                  <a:lnTo>
                    <a:pt x="13612" y="1502"/>
                  </a:lnTo>
                  <a:lnTo>
                    <a:pt x="13696" y="1546"/>
                  </a:lnTo>
                  <a:lnTo>
                    <a:pt x="13858" y="1613"/>
                  </a:lnTo>
                  <a:lnTo>
                    <a:pt x="13901" y="1655"/>
                  </a:lnTo>
                  <a:lnTo>
                    <a:pt x="13754" y="1675"/>
                  </a:lnTo>
                  <a:lnTo>
                    <a:pt x="13691" y="1682"/>
                  </a:lnTo>
                  <a:lnTo>
                    <a:pt x="13733" y="1769"/>
                  </a:lnTo>
                  <a:lnTo>
                    <a:pt x="13737" y="1849"/>
                  </a:lnTo>
                  <a:lnTo>
                    <a:pt x="13598" y="1802"/>
                  </a:lnTo>
                  <a:cubicBezTo>
                    <a:pt x="13592" y="1789"/>
                    <a:pt x="13585" y="1778"/>
                    <a:pt x="13576" y="1767"/>
                  </a:cubicBezTo>
                  <a:cubicBezTo>
                    <a:pt x="13568" y="1756"/>
                    <a:pt x="13558" y="1746"/>
                    <a:pt x="13547" y="1737"/>
                  </a:cubicBezTo>
                  <a:cubicBezTo>
                    <a:pt x="13533" y="1725"/>
                    <a:pt x="13517" y="1716"/>
                    <a:pt x="13500" y="1710"/>
                  </a:cubicBezTo>
                  <a:cubicBezTo>
                    <a:pt x="13483" y="1703"/>
                    <a:pt x="13466" y="1699"/>
                    <a:pt x="13447" y="1698"/>
                  </a:cubicBezTo>
                  <a:lnTo>
                    <a:pt x="13305" y="1686"/>
                  </a:lnTo>
                  <a:lnTo>
                    <a:pt x="13365" y="1831"/>
                  </a:lnTo>
                  <a:lnTo>
                    <a:pt x="13459" y="1891"/>
                  </a:lnTo>
                  <a:lnTo>
                    <a:pt x="13491" y="2019"/>
                  </a:lnTo>
                  <a:lnTo>
                    <a:pt x="13547" y="2115"/>
                  </a:lnTo>
                  <a:lnTo>
                    <a:pt x="13657" y="2176"/>
                  </a:lnTo>
                  <a:lnTo>
                    <a:pt x="13788" y="2222"/>
                  </a:lnTo>
                  <a:lnTo>
                    <a:pt x="13853" y="2275"/>
                  </a:lnTo>
                  <a:lnTo>
                    <a:pt x="13741" y="2308"/>
                  </a:lnTo>
                  <a:lnTo>
                    <a:pt x="13602" y="2280"/>
                  </a:lnTo>
                  <a:lnTo>
                    <a:pt x="13456" y="2256"/>
                  </a:lnTo>
                  <a:lnTo>
                    <a:pt x="13322" y="2256"/>
                  </a:lnTo>
                  <a:lnTo>
                    <a:pt x="13232" y="2243"/>
                  </a:lnTo>
                  <a:lnTo>
                    <a:pt x="13260" y="2306"/>
                  </a:lnTo>
                  <a:cubicBezTo>
                    <a:pt x="13273" y="2314"/>
                    <a:pt x="13286" y="2322"/>
                    <a:pt x="13299" y="2329"/>
                  </a:cubicBezTo>
                  <a:cubicBezTo>
                    <a:pt x="13313" y="2336"/>
                    <a:pt x="13327" y="2342"/>
                    <a:pt x="13342" y="2347"/>
                  </a:cubicBezTo>
                  <a:cubicBezTo>
                    <a:pt x="13357" y="2353"/>
                    <a:pt x="13373" y="2358"/>
                    <a:pt x="13389" y="2362"/>
                  </a:cubicBezTo>
                  <a:cubicBezTo>
                    <a:pt x="13405" y="2365"/>
                    <a:pt x="13421" y="2368"/>
                    <a:pt x="13437" y="2370"/>
                  </a:cubicBezTo>
                  <a:lnTo>
                    <a:pt x="13470" y="2462"/>
                  </a:lnTo>
                  <a:lnTo>
                    <a:pt x="13393" y="2456"/>
                  </a:lnTo>
                  <a:lnTo>
                    <a:pt x="13321" y="2468"/>
                  </a:lnTo>
                  <a:lnTo>
                    <a:pt x="13262" y="2495"/>
                  </a:lnTo>
                  <a:lnTo>
                    <a:pt x="13201" y="2550"/>
                  </a:lnTo>
                  <a:lnTo>
                    <a:pt x="13125" y="2468"/>
                  </a:lnTo>
                  <a:lnTo>
                    <a:pt x="13075" y="2515"/>
                  </a:lnTo>
                  <a:lnTo>
                    <a:pt x="13033" y="2565"/>
                  </a:lnTo>
                  <a:lnTo>
                    <a:pt x="12915" y="2684"/>
                  </a:lnTo>
                  <a:lnTo>
                    <a:pt x="12859" y="2773"/>
                  </a:lnTo>
                  <a:lnTo>
                    <a:pt x="12891" y="2884"/>
                  </a:lnTo>
                  <a:lnTo>
                    <a:pt x="12798" y="2874"/>
                  </a:lnTo>
                  <a:lnTo>
                    <a:pt x="12619" y="2849"/>
                  </a:lnTo>
                  <a:lnTo>
                    <a:pt x="12733" y="2769"/>
                  </a:lnTo>
                  <a:lnTo>
                    <a:pt x="12669" y="2657"/>
                  </a:lnTo>
                  <a:lnTo>
                    <a:pt x="12492" y="2618"/>
                  </a:lnTo>
                  <a:lnTo>
                    <a:pt x="12518" y="2755"/>
                  </a:lnTo>
                  <a:lnTo>
                    <a:pt x="12567" y="2882"/>
                  </a:lnTo>
                  <a:lnTo>
                    <a:pt x="12626" y="2969"/>
                  </a:lnTo>
                  <a:lnTo>
                    <a:pt x="12637" y="3058"/>
                  </a:lnTo>
                  <a:lnTo>
                    <a:pt x="12572" y="3067"/>
                  </a:lnTo>
                  <a:lnTo>
                    <a:pt x="12472" y="3142"/>
                  </a:lnTo>
                  <a:lnTo>
                    <a:pt x="12479" y="3207"/>
                  </a:lnTo>
                  <a:lnTo>
                    <a:pt x="12368" y="3239"/>
                  </a:lnTo>
                  <a:lnTo>
                    <a:pt x="12327" y="3361"/>
                  </a:lnTo>
                  <a:cubicBezTo>
                    <a:pt x="12284" y="3392"/>
                    <a:pt x="12230" y="3397"/>
                    <a:pt x="12183" y="3374"/>
                  </a:cubicBezTo>
                  <a:cubicBezTo>
                    <a:pt x="12121" y="3343"/>
                    <a:pt x="12087" y="3273"/>
                    <a:pt x="12101" y="3203"/>
                  </a:cubicBezTo>
                  <a:lnTo>
                    <a:pt x="12013" y="3101"/>
                  </a:lnTo>
                  <a:lnTo>
                    <a:pt x="12125" y="3042"/>
                  </a:lnTo>
                  <a:lnTo>
                    <a:pt x="12235" y="3093"/>
                  </a:lnTo>
                  <a:lnTo>
                    <a:pt x="12355" y="3093"/>
                  </a:lnTo>
                  <a:lnTo>
                    <a:pt x="12512" y="3007"/>
                  </a:lnTo>
                  <a:lnTo>
                    <a:pt x="12490" y="2922"/>
                  </a:lnTo>
                  <a:lnTo>
                    <a:pt x="12425" y="2831"/>
                  </a:lnTo>
                  <a:lnTo>
                    <a:pt x="12382" y="2797"/>
                  </a:lnTo>
                  <a:lnTo>
                    <a:pt x="12264" y="2773"/>
                  </a:lnTo>
                  <a:cubicBezTo>
                    <a:pt x="12244" y="2771"/>
                    <a:pt x="12223" y="2768"/>
                    <a:pt x="12203" y="2764"/>
                  </a:cubicBezTo>
                  <a:cubicBezTo>
                    <a:pt x="12182" y="2760"/>
                    <a:pt x="12162" y="2755"/>
                    <a:pt x="12142" y="2750"/>
                  </a:cubicBezTo>
                  <a:cubicBezTo>
                    <a:pt x="12112" y="2742"/>
                    <a:pt x="12083" y="2734"/>
                    <a:pt x="12055" y="2724"/>
                  </a:cubicBezTo>
                  <a:cubicBezTo>
                    <a:pt x="12026" y="2714"/>
                    <a:pt x="11998" y="2703"/>
                    <a:pt x="11970" y="2691"/>
                  </a:cubicBezTo>
                  <a:lnTo>
                    <a:pt x="11850" y="2639"/>
                  </a:lnTo>
                  <a:lnTo>
                    <a:pt x="11744" y="2632"/>
                  </a:lnTo>
                  <a:lnTo>
                    <a:pt x="11578" y="2637"/>
                  </a:lnTo>
                  <a:lnTo>
                    <a:pt x="11561" y="2580"/>
                  </a:lnTo>
                  <a:lnTo>
                    <a:pt x="11473" y="2516"/>
                  </a:lnTo>
                  <a:lnTo>
                    <a:pt x="11365" y="2481"/>
                  </a:lnTo>
                  <a:lnTo>
                    <a:pt x="11271" y="2474"/>
                  </a:lnTo>
                  <a:lnTo>
                    <a:pt x="11178" y="2514"/>
                  </a:lnTo>
                  <a:lnTo>
                    <a:pt x="10945" y="2531"/>
                  </a:lnTo>
                  <a:cubicBezTo>
                    <a:pt x="10918" y="2557"/>
                    <a:pt x="10889" y="2581"/>
                    <a:pt x="10858" y="2601"/>
                  </a:cubicBezTo>
                  <a:cubicBezTo>
                    <a:pt x="10810" y="2632"/>
                    <a:pt x="10756" y="2654"/>
                    <a:pt x="10701" y="2666"/>
                  </a:cubicBezTo>
                  <a:lnTo>
                    <a:pt x="10628" y="2714"/>
                  </a:lnTo>
                  <a:lnTo>
                    <a:pt x="10498" y="2776"/>
                  </a:lnTo>
                  <a:lnTo>
                    <a:pt x="10396" y="2841"/>
                  </a:lnTo>
                  <a:lnTo>
                    <a:pt x="10331" y="2892"/>
                  </a:lnTo>
                  <a:lnTo>
                    <a:pt x="10379" y="2974"/>
                  </a:lnTo>
                  <a:lnTo>
                    <a:pt x="10344" y="3090"/>
                  </a:lnTo>
                  <a:lnTo>
                    <a:pt x="10289" y="3142"/>
                  </a:lnTo>
                  <a:lnTo>
                    <a:pt x="10203" y="3231"/>
                  </a:lnTo>
                  <a:cubicBezTo>
                    <a:pt x="10176" y="3264"/>
                    <a:pt x="10150" y="3297"/>
                    <a:pt x="10124" y="3331"/>
                  </a:cubicBezTo>
                  <a:cubicBezTo>
                    <a:pt x="10094" y="3370"/>
                    <a:pt x="10064" y="3410"/>
                    <a:pt x="10030" y="3444"/>
                  </a:cubicBezTo>
                  <a:cubicBezTo>
                    <a:pt x="10002" y="3472"/>
                    <a:pt x="9972" y="3496"/>
                    <a:pt x="9939" y="3516"/>
                  </a:cubicBezTo>
                  <a:lnTo>
                    <a:pt x="9873" y="3535"/>
                  </a:lnTo>
                  <a:lnTo>
                    <a:pt x="9819" y="3627"/>
                  </a:lnTo>
                  <a:lnTo>
                    <a:pt x="9744" y="3655"/>
                  </a:lnTo>
                  <a:lnTo>
                    <a:pt x="9643" y="3678"/>
                  </a:lnTo>
                  <a:lnTo>
                    <a:pt x="9542" y="3755"/>
                  </a:lnTo>
                  <a:lnTo>
                    <a:pt x="9404" y="3941"/>
                  </a:lnTo>
                  <a:lnTo>
                    <a:pt x="9349" y="4106"/>
                  </a:lnTo>
                  <a:lnTo>
                    <a:pt x="9349" y="4209"/>
                  </a:lnTo>
                  <a:lnTo>
                    <a:pt x="9361" y="4282"/>
                  </a:lnTo>
                  <a:lnTo>
                    <a:pt x="9388" y="4360"/>
                  </a:lnTo>
                  <a:lnTo>
                    <a:pt x="9404" y="4436"/>
                  </a:lnTo>
                  <a:lnTo>
                    <a:pt x="9490" y="4486"/>
                  </a:lnTo>
                  <a:lnTo>
                    <a:pt x="9586" y="4503"/>
                  </a:lnTo>
                  <a:lnTo>
                    <a:pt x="9643" y="4486"/>
                  </a:lnTo>
                  <a:lnTo>
                    <a:pt x="9772" y="4397"/>
                  </a:lnTo>
                  <a:lnTo>
                    <a:pt x="9877" y="4344"/>
                  </a:lnTo>
                  <a:lnTo>
                    <a:pt x="9962" y="4334"/>
                  </a:lnTo>
                  <a:lnTo>
                    <a:pt x="10063" y="4398"/>
                  </a:lnTo>
                  <a:cubicBezTo>
                    <a:pt x="10069" y="4410"/>
                    <a:pt x="10075" y="4423"/>
                    <a:pt x="10080" y="4436"/>
                  </a:cubicBezTo>
                  <a:cubicBezTo>
                    <a:pt x="10084" y="4449"/>
                    <a:pt x="10088" y="4463"/>
                    <a:pt x="10091" y="4476"/>
                  </a:cubicBezTo>
                  <a:cubicBezTo>
                    <a:pt x="10097" y="4502"/>
                    <a:pt x="10100" y="4529"/>
                    <a:pt x="10099" y="4556"/>
                  </a:cubicBezTo>
                  <a:cubicBezTo>
                    <a:pt x="10098" y="4583"/>
                    <a:pt x="10094" y="4609"/>
                    <a:pt x="10087" y="4636"/>
                  </a:cubicBezTo>
                  <a:lnTo>
                    <a:pt x="10072" y="4733"/>
                  </a:lnTo>
                  <a:lnTo>
                    <a:pt x="10028" y="4784"/>
                  </a:lnTo>
                  <a:lnTo>
                    <a:pt x="10101" y="4964"/>
                  </a:lnTo>
                  <a:cubicBezTo>
                    <a:pt x="10113" y="4968"/>
                    <a:pt x="10126" y="4972"/>
                    <a:pt x="10139" y="4973"/>
                  </a:cubicBezTo>
                  <a:cubicBezTo>
                    <a:pt x="10151" y="4975"/>
                    <a:pt x="10164" y="4976"/>
                    <a:pt x="10176" y="4975"/>
                  </a:cubicBezTo>
                  <a:cubicBezTo>
                    <a:pt x="10197" y="4972"/>
                    <a:pt x="10217" y="4966"/>
                    <a:pt x="10236" y="4956"/>
                  </a:cubicBezTo>
                  <a:cubicBezTo>
                    <a:pt x="10255" y="4947"/>
                    <a:pt x="10272" y="4934"/>
                    <a:pt x="10286" y="4918"/>
                  </a:cubicBezTo>
                  <a:lnTo>
                    <a:pt x="10331" y="4867"/>
                  </a:lnTo>
                  <a:lnTo>
                    <a:pt x="10465" y="4859"/>
                  </a:lnTo>
                  <a:lnTo>
                    <a:pt x="10557" y="4772"/>
                  </a:lnTo>
                  <a:lnTo>
                    <a:pt x="10661" y="4713"/>
                  </a:lnTo>
                  <a:lnTo>
                    <a:pt x="10589" y="4583"/>
                  </a:lnTo>
                  <a:cubicBezTo>
                    <a:pt x="10584" y="4530"/>
                    <a:pt x="10599" y="4477"/>
                    <a:pt x="10632" y="4436"/>
                  </a:cubicBezTo>
                  <a:cubicBezTo>
                    <a:pt x="10678" y="4378"/>
                    <a:pt x="10749" y="4353"/>
                    <a:pt x="10818" y="4368"/>
                  </a:cubicBezTo>
                  <a:lnTo>
                    <a:pt x="10858" y="4263"/>
                  </a:lnTo>
                  <a:lnTo>
                    <a:pt x="10797" y="4112"/>
                  </a:lnTo>
                  <a:lnTo>
                    <a:pt x="10693" y="4047"/>
                  </a:lnTo>
                  <a:lnTo>
                    <a:pt x="10668" y="3863"/>
                  </a:lnTo>
                  <a:cubicBezTo>
                    <a:pt x="10686" y="3827"/>
                    <a:pt x="10709" y="3794"/>
                    <a:pt x="10737" y="3766"/>
                  </a:cubicBezTo>
                  <a:cubicBezTo>
                    <a:pt x="10772" y="3729"/>
                    <a:pt x="10813" y="3700"/>
                    <a:pt x="10854" y="3670"/>
                  </a:cubicBezTo>
                  <a:cubicBezTo>
                    <a:pt x="10884" y="3648"/>
                    <a:pt x="10914" y="3626"/>
                    <a:pt x="10944" y="3604"/>
                  </a:cubicBezTo>
                  <a:lnTo>
                    <a:pt x="11016" y="3512"/>
                  </a:lnTo>
                  <a:lnTo>
                    <a:pt x="11025" y="3400"/>
                  </a:lnTo>
                  <a:lnTo>
                    <a:pt x="11176" y="3320"/>
                  </a:lnTo>
                  <a:lnTo>
                    <a:pt x="11266" y="3289"/>
                  </a:lnTo>
                  <a:lnTo>
                    <a:pt x="11330" y="3356"/>
                  </a:lnTo>
                  <a:lnTo>
                    <a:pt x="11256" y="3442"/>
                  </a:lnTo>
                  <a:lnTo>
                    <a:pt x="11125" y="3542"/>
                  </a:lnTo>
                  <a:lnTo>
                    <a:pt x="11037" y="3592"/>
                  </a:lnTo>
                  <a:lnTo>
                    <a:pt x="10995" y="3663"/>
                  </a:lnTo>
                  <a:lnTo>
                    <a:pt x="10995" y="3735"/>
                  </a:lnTo>
                  <a:lnTo>
                    <a:pt x="11010" y="3852"/>
                  </a:lnTo>
                  <a:lnTo>
                    <a:pt x="11016" y="3917"/>
                  </a:lnTo>
                  <a:lnTo>
                    <a:pt x="10988" y="4022"/>
                  </a:lnTo>
                  <a:lnTo>
                    <a:pt x="10988" y="4130"/>
                  </a:lnTo>
                  <a:lnTo>
                    <a:pt x="11127" y="4172"/>
                  </a:lnTo>
                  <a:lnTo>
                    <a:pt x="11317" y="4166"/>
                  </a:lnTo>
                  <a:lnTo>
                    <a:pt x="11403" y="4126"/>
                  </a:lnTo>
                  <a:lnTo>
                    <a:pt x="11518" y="4074"/>
                  </a:lnTo>
                  <a:lnTo>
                    <a:pt x="11681" y="4044"/>
                  </a:lnTo>
                  <a:lnTo>
                    <a:pt x="11754" y="4044"/>
                  </a:lnTo>
                  <a:lnTo>
                    <a:pt x="11795" y="4120"/>
                  </a:lnTo>
                  <a:lnTo>
                    <a:pt x="11667" y="4197"/>
                  </a:lnTo>
                  <a:lnTo>
                    <a:pt x="11611" y="4197"/>
                  </a:lnTo>
                  <a:lnTo>
                    <a:pt x="11474" y="4193"/>
                  </a:lnTo>
                  <a:lnTo>
                    <a:pt x="11240" y="4245"/>
                  </a:lnTo>
                  <a:lnTo>
                    <a:pt x="11173" y="4293"/>
                  </a:lnTo>
                  <a:lnTo>
                    <a:pt x="11097" y="4303"/>
                  </a:lnTo>
                  <a:lnTo>
                    <a:pt x="11108" y="4432"/>
                  </a:lnTo>
                  <a:lnTo>
                    <a:pt x="11103" y="4506"/>
                  </a:lnTo>
                  <a:lnTo>
                    <a:pt x="11038" y="4628"/>
                  </a:lnTo>
                  <a:lnTo>
                    <a:pt x="10998" y="4698"/>
                  </a:lnTo>
                  <a:lnTo>
                    <a:pt x="11015" y="4790"/>
                  </a:lnTo>
                  <a:lnTo>
                    <a:pt x="11019" y="4856"/>
                  </a:lnTo>
                  <a:lnTo>
                    <a:pt x="10929" y="4937"/>
                  </a:lnTo>
                  <a:lnTo>
                    <a:pt x="10892" y="5018"/>
                  </a:lnTo>
                  <a:cubicBezTo>
                    <a:pt x="10890" y="5031"/>
                    <a:pt x="10885" y="5043"/>
                    <a:pt x="10879" y="5055"/>
                  </a:cubicBezTo>
                  <a:cubicBezTo>
                    <a:pt x="10874" y="5067"/>
                    <a:pt x="10866" y="5078"/>
                    <a:pt x="10858" y="5088"/>
                  </a:cubicBezTo>
                  <a:cubicBezTo>
                    <a:pt x="10846" y="5103"/>
                    <a:pt x="10832" y="5116"/>
                    <a:pt x="10817" y="5126"/>
                  </a:cubicBezTo>
                  <a:cubicBezTo>
                    <a:pt x="10801" y="5136"/>
                    <a:pt x="10784" y="5143"/>
                    <a:pt x="10766" y="5146"/>
                  </a:cubicBezTo>
                  <a:lnTo>
                    <a:pt x="10691" y="5146"/>
                  </a:lnTo>
                  <a:lnTo>
                    <a:pt x="10684" y="5081"/>
                  </a:lnTo>
                  <a:lnTo>
                    <a:pt x="10570" y="5025"/>
                  </a:lnTo>
                  <a:lnTo>
                    <a:pt x="10493" y="5088"/>
                  </a:lnTo>
                  <a:lnTo>
                    <a:pt x="10422" y="5103"/>
                  </a:lnTo>
                  <a:lnTo>
                    <a:pt x="10290" y="5131"/>
                  </a:lnTo>
                  <a:lnTo>
                    <a:pt x="10225" y="5090"/>
                  </a:lnTo>
                  <a:lnTo>
                    <a:pt x="10145" y="5044"/>
                  </a:lnTo>
                  <a:lnTo>
                    <a:pt x="10034" y="5061"/>
                  </a:lnTo>
                  <a:lnTo>
                    <a:pt x="9970" y="4798"/>
                  </a:lnTo>
                  <a:lnTo>
                    <a:pt x="9860" y="4827"/>
                  </a:lnTo>
                  <a:lnTo>
                    <a:pt x="9877" y="4738"/>
                  </a:lnTo>
                  <a:lnTo>
                    <a:pt x="9933" y="4679"/>
                  </a:lnTo>
                  <a:lnTo>
                    <a:pt x="9933" y="4592"/>
                  </a:lnTo>
                  <a:lnTo>
                    <a:pt x="9888" y="4487"/>
                  </a:lnTo>
                  <a:lnTo>
                    <a:pt x="9760" y="4551"/>
                  </a:lnTo>
                  <a:lnTo>
                    <a:pt x="9671" y="4615"/>
                  </a:lnTo>
                  <a:lnTo>
                    <a:pt x="9509" y="4663"/>
                  </a:lnTo>
                  <a:lnTo>
                    <a:pt x="9521" y="4837"/>
                  </a:lnTo>
                  <a:lnTo>
                    <a:pt x="9554" y="4981"/>
                  </a:lnTo>
                  <a:lnTo>
                    <a:pt x="9563" y="5094"/>
                  </a:lnTo>
                  <a:lnTo>
                    <a:pt x="9529" y="5164"/>
                  </a:lnTo>
                  <a:lnTo>
                    <a:pt x="9351" y="5173"/>
                  </a:lnTo>
                  <a:lnTo>
                    <a:pt x="9268" y="5179"/>
                  </a:lnTo>
                  <a:lnTo>
                    <a:pt x="9161" y="5231"/>
                  </a:lnTo>
                  <a:lnTo>
                    <a:pt x="9119" y="5311"/>
                  </a:lnTo>
                  <a:lnTo>
                    <a:pt x="9015" y="5381"/>
                  </a:lnTo>
                  <a:lnTo>
                    <a:pt x="8932" y="5429"/>
                  </a:lnTo>
                  <a:lnTo>
                    <a:pt x="8783" y="5500"/>
                  </a:lnTo>
                  <a:lnTo>
                    <a:pt x="8701" y="5547"/>
                  </a:lnTo>
                  <a:lnTo>
                    <a:pt x="8630" y="5553"/>
                  </a:lnTo>
                  <a:lnTo>
                    <a:pt x="8625" y="5499"/>
                  </a:lnTo>
                  <a:cubicBezTo>
                    <a:pt x="8661" y="5484"/>
                    <a:pt x="8691" y="5456"/>
                    <a:pt x="8711" y="5420"/>
                  </a:cubicBezTo>
                  <a:cubicBezTo>
                    <a:pt x="8729" y="5390"/>
                    <a:pt x="8739" y="5356"/>
                    <a:pt x="8738" y="5321"/>
                  </a:cubicBezTo>
                  <a:cubicBezTo>
                    <a:pt x="8726" y="5282"/>
                    <a:pt x="8706" y="5245"/>
                    <a:pt x="8682" y="5214"/>
                  </a:cubicBezTo>
                  <a:cubicBezTo>
                    <a:pt x="8656" y="5181"/>
                    <a:pt x="8625" y="5154"/>
                    <a:pt x="8590" y="5134"/>
                  </a:cubicBezTo>
                  <a:cubicBezTo>
                    <a:pt x="8588" y="5066"/>
                    <a:pt x="8579" y="4999"/>
                    <a:pt x="8562" y="4933"/>
                  </a:cubicBezTo>
                  <a:cubicBezTo>
                    <a:pt x="8549" y="4880"/>
                    <a:pt x="8531" y="4828"/>
                    <a:pt x="8510" y="4779"/>
                  </a:cubicBezTo>
                  <a:lnTo>
                    <a:pt x="8422" y="4676"/>
                  </a:lnTo>
                  <a:cubicBezTo>
                    <a:pt x="8429" y="4650"/>
                    <a:pt x="8441" y="4626"/>
                    <a:pt x="8457" y="4606"/>
                  </a:cubicBezTo>
                  <a:cubicBezTo>
                    <a:pt x="8473" y="4585"/>
                    <a:pt x="8493" y="4568"/>
                    <a:pt x="8516" y="4556"/>
                  </a:cubicBezTo>
                  <a:cubicBezTo>
                    <a:pt x="8533" y="4547"/>
                    <a:pt x="8551" y="4540"/>
                    <a:pt x="8568" y="4531"/>
                  </a:cubicBezTo>
                  <a:cubicBezTo>
                    <a:pt x="8584" y="4523"/>
                    <a:pt x="8600" y="4513"/>
                    <a:pt x="8611" y="4497"/>
                  </a:cubicBezTo>
                  <a:cubicBezTo>
                    <a:pt x="8632" y="4465"/>
                    <a:pt x="8630" y="4420"/>
                    <a:pt x="8605" y="4390"/>
                  </a:cubicBezTo>
                  <a:cubicBezTo>
                    <a:pt x="8569" y="4346"/>
                    <a:pt x="8503" y="4348"/>
                    <a:pt x="8469" y="4394"/>
                  </a:cubicBezTo>
                  <a:lnTo>
                    <a:pt x="8612" y="4236"/>
                  </a:lnTo>
                  <a:lnTo>
                    <a:pt x="8635" y="4144"/>
                  </a:lnTo>
                  <a:lnTo>
                    <a:pt x="8516" y="4121"/>
                  </a:lnTo>
                  <a:lnTo>
                    <a:pt x="8428" y="4179"/>
                  </a:lnTo>
                  <a:lnTo>
                    <a:pt x="8345" y="4243"/>
                  </a:lnTo>
                  <a:lnTo>
                    <a:pt x="8247" y="4284"/>
                  </a:lnTo>
                  <a:lnTo>
                    <a:pt x="8165" y="4337"/>
                  </a:lnTo>
                  <a:lnTo>
                    <a:pt x="8187" y="4237"/>
                  </a:lnTo>
                  <a:lnTo>
                    <a:pt x="8169" y="4168"/>
                  </a:lnTo>
                  <a:lnTo>
                    <a:pt x="8101" y="4245"/>
                  </a:lnTo>
                  <a:cubicBezTo>
                    <a:pt x="8092" y="4260"/>
                    <a:pt x="8081" y="4275"/>
                    <a:pt x="8070" y="4288"/>
                  </a:cubicBezTo>
                  <a:cubicBezTo>
                    <a:pt x="8059" y="4302"/>
                    <a:pt x="8046" y="4315"/>
                    <a:pt x="8034" y="4328"/>
                  </a:cubicBezTo>
                  <a:cubicBezTo>
                    <a:pt x="8018" y="4343"/>
                    <a:pt x="8002" y="4357"/>
                    <a:pt x="7985" y="4371"/>
                  </a:cubicBezTo>
                  <a:cubicBezTo>
                    <a:pt x="7968" y="4384"/>
                    <a:pt x="7950" y="4396"/>
                    <a:pt x="7932" y="4406"/>
                  </a:cubicBezTo>
                  <a:lnTo>
                    <a:pt x="7988" y="4474"/>
                  </a:lnTo>
                  <a:lnTo>
                    <a:pt x="8011" y="4602"/>
                  </a:lnTo>
                  <a:lnTo>
                    <a:pt x="7961" y="4699"/>
                  </a:lnTo>
                  <a:cubicBezTo>
                    <a:pt x="7938" y="4693"/>
                    <a:pt x="7915" y="4691"/>
                    <a:pt x="7891" y="4691"/>
                  </a:cubicBezTo>
                  <a:cubicBezTo>
                    <a:pt x="7868" y="4692"/>
                    <a:pt x="7844" y="4697"/>
                    <a:pt x="7822" y="4705"/>
                  </a:cubicBezTo>
                  <a:cubicBezTo>
                    <a:pt x="7805" y="4711"/>
                    <a:pt x="7788" y="4720"/>
                    <a:pt x="7773" y="4730"/>
                  </a:cubicBezTo>
                  <a:cubicBezTo>
                    <a:pt x="7757" y="4741"/>
                    <a:pt x="7743" y="4754"/>
                    <a:pt x="7730" y="4768"/>
                  </a:cubicBezTo>
                  <a:lnTo>
                    <a:pt x="7653" y="4825"/>
                  </a:lnTo>
                  <a:lnTo>
                    <a:pt x="7523" y="4836"/>
                  </a:lnTo>
                  <a:lnTo>
                    <a:pt x="7439" y="4904"/>
                  </a:lnTo>
                  <a:lnTo>
                    <a:pt x="7417" y="4994"/>
                  </a:lnTo>
                  <a:lnTo>
                    <a:pt x="7422" y="5063"/>
                  </a:lnTo>
                  <a:cubicBezTo>
                    <a:pt x="7383" y="5079"/>
                    <a:pt x="7346" y="5102"/>
                    <a:pt x="7313" y="5130"/>
                  </a:cubicBezTo>
                  <a:cubicBezTo>
                    <a:pt x="7291" y="5148"/>
                    <a:pt x="7269" y="5170"/>
                    <a:pt x="7260" y="5198"/>
                  </a:cubicBezTo>
                  <a:cubicBezTo>
                    <a:pt x="7247" y="5241"/>
                    <a:pt x="7263" y="5288"/>
                    <a:pt x="7295" y="5321"/>
                  </a:cubicBezTo>
                  <a:cubicBezTo>
                    <a:pt x="7316" y="5341"/>
                    <a:pt x="7342" y="5354"/>
                    <a:pt x="7370" y="5359"/>
                  </a:cubicBezTo>
                  <a:cubicBezTo>
                    <a:pt x="7397" y="5364"/>
                    <a:pt x="7426" y="5361"/>
                    <a:pt x="7453" y="5349"/>
                  </a:cubicBezTo>
                  <a:lnTo>
                    <a:pt x="7542" y="5308"/>
                  </a:lnTo>
                  <a:lnTo>
                    <a:pt x="7633" y="5271"/>
                  </a:lnTo>
                  <a:cubicBezTo>
                    <a:pt x="7670" y="5268"/>
                    <a:pt x="7706" y="5257"/>
                    <a:pt x="7738" y="5237"/>
                  </a:cubicBezTo>
                  <a:cubicBezTo>
                    <a:pt x="7773" y="5215"/>
                    <a:pt x="7801" y="5184"/>
                    <a:pt x="7822" y="5148"/>
                  </a:cubicBezTo>
                  <a:lnTo>
                    <a:pt x="7849" y="5013"/>
                  </a:lnTo>
                  <a:lnTo>
                    <a:pt x="7909" y="4880"/>
                  </a:lnTo>
                  <a:lnTo>
                    <a:pt x="7993" y="4788"/>
                  </a:lnTo>
                  <a:lnTo>
                    <a:pt x="8068" y="4759"/>
                  </a:lnTo>
                  <a:lnTo>
                    <a:pt x="8124" y="4853"/>
                  </a:lnTo>
                  <a:lnTo>
                    <a:pt x="8082" y="4887"/>
                  </a:lnTo>
                  <a:lnTo>
                    <a:pt x="8120" y="4964"/>
                  </a:lnTo>
                  <a:cubicBezTo>
                    <a:pt x="8133" y="4966"/>
                    <a:pt x="8144" y="4969"/>
                    <a:pt x="8155" y="4974"/>
                  </a:cubicBezTo>
                  <a:cubicBezTo>
                    <a:pt x="8167" y="4979"/>
                    <a:pt x="8177" y="4986"/>
                    <a:pt x="8187" y="4994"/>
                  </a:cubicBezTo>
                  <a:cubicBezTo>
                    <a:pt x="8202" y="5006"/>
                    <a:pt x="8214" y="5021"/>
                    <a:pt x="8223" y="5038"/>
                  </a:cubicBezTo>
                  <a:cubicBezTo>
                    <a:pt x="8232" y="5055"/>
                    <a:pt x="8238" y="5074"/>
                    <a:pt x="8240" y="5094"/>
                  </a:cubicBezTo>
                  <a:lnTo>
                    <a:pt x="8164" y="5135"/>
                  </a:lnTo>
                  <a:lnTo>
                    <a:pt x="8063" y="5099"/>
                  </a:lnTo>
                  <a:lnTo>
                    <a:pt x="8006" y="5180"/>
                  </a:lnTo>
                  <a:lnTo>
                    <a:pt x="8026" y="5283"/>
                  </a:lnTo>
                  <a:lnTo>
                    <a:pt x="7983" y="5331"/>
                  </a:lnTo>
                  <a:lnTo>
                    <a:pt x="7888" y="5335"/>
                  </a:lnTo>
                  <a:lnTo>
                    <a:pt x="7868" y="5423"/>
                  </a:lnTo>
                  <a:cubicBezTo>
                    <a:pt x="7898" y="5416"/>
                    <a:pt x="7930" y="5428"/>
                    <a:pt x="7948" y="5456"/>
                  </a:cubicBezTo>
                  <a:cubicBezTo>
                    <a:pt x="7987" y="5514"/>
                    <a:pt x="7952" y="5594"/>
                    <a:pt x="7886" y="5601"/>
                  </a:cubicBezTo>
                  <a:cubicBezTo>
                    <a:pt x="7872" y="5601"/>
                    <a:pt x="7858" y="5601"/>
                    <a:pt x="7844" y="5602"/>
                  </a:cubicBezTo>
                  <a:cubicBezTo>
                    <a:pt x="7830" y="5603"/>
                    <a:pt x="7816" y="5605"/>
                    <a:pt x="7803" y="5608"/>
                  </a:cubicBezTo>
                  <a:cubicBezTo>
                    <a:pt x="7785" y="5613"/>
                    <a:pt x="7767" y="5619"/>
                    <a:pt x="7750" y="5627"/>
                  </a:cubicBezTo>
                  <a:cubicBezTo>
                    <a:pt x="7733" y="5635"/>
                    <a:pt x="7717" y="5644"/>
                    <a:pt x="7702" y="5656"/>
                  </a:cubicBezTo>
                  <a:lnTo>
                    <a:pt x="7800" y="5750"/>
                  </a:lnTo>
                  <a:cubicBezTo>
                    <a:pt x="7806" y="5735"/>
                    <a:pt x="7814" y="5721"/>
                    <a:pt x="7824" y="5708"/>
                  </a:cubicBezTo>
                  <a:cubicBezTo>
                    <a:pt x="7835" y="5696"/>
                    <a:pt x="7847" y="5686"/>
                    <a:pt x="7861" y="5678"/>
                  </a:cubicBezTo>
                  <a:cubicBezTo>
                    <a:pt x="7873" y="5673"/>
                    <a:pt x="7886" y="5669"/>
                    <a:pt x="7898" y="5666"/>
                  </a:cubicBezTo>
                  <a:cubicBezTo>
                    <a:pt x="7912" y="5664"/>
                    <a:pt x="7925" y="5664"/>
                    <a:pt x="7938" y="5666"/>
                  </a:cubicBezTo>
                  <a:lnTo>
                    <a:pt x="8058" y="5674"/>
                  </a:lnTo>
                  <a:lnTo>
                    <a:pt x="8180" y="5633"/>
                  </a:lnTo>
                  <a:cubicBezTo>
                    <a:pt x="8217" y="5631"/>
                    <a:pt x="8253" y="5631"/>
                    <a:pt x="8289" y="5633"/>
                  </a:cubicBezTo>
                  <a:cubicBezTo>
                    <a:pt x="8322" y="5634"/>
                    <a:pt x="8355" y="5636"/>
                    <a:pt x="8389" y="5639"/>
                  </a:cubicBezTo>
                  <a:lnTo>
                    <a:pt x="8523" y="5645"/>
                  </a:lnTo>
                  <a:lnTo>
                    <a:pt x="8594" y="5645"/>
                  </a:lnTo>
                  <a:lnTo>
                    <a:pt x="8632" y="5718"/>
                  </a:lnTo>
                  <a:cubicBezTo>
                    <a:pt x="8618" y="5731"/>
                    <a:pt x="8603" y="5742"/>
                    <a:pt x="8588" y="5753"/>
                  </a:cubicBezTo>
                  <a:cubicBezTo>
                    <a:pt x="8537" y="5790"/>
                    <a:pt x="8482" y="5820"/>
                    <a:pt x="8424" y="5842"/>
                  </a:cubicBezTo>
                  <a:cubicBezTo>
                    <a:pt x="8383" y="5858"/>
                    <a:pt x="8340" y="5869"/>
                    <a:pt x="8297" y="5876"/>
                  </a:cubicBezTo>
                  <a:lnTo>
                    <a:pt x="8225" y="5782"/>
                  </a:lnTo>
                  <a:lnTo>
                    <a:pt x="8165" y="5865"/>
                  </a:lnTo>
                  <a:lnTo>
                    <a:pt x="8147" y="5924"/>
                  </a:lnTo>
                  <a:lnTo>
                    <a:pt x="7804" y="5924"/>
                  </a:lnTo>
                  <a:lnTo>
                    <a:pt x="7702" y="5966"/>
                  </a:lnTo>
                  <a:lnTo>
                    <a:pt x="7750" y="6057"/>
                  </a:lnTo>
                  <a:lnTo>
                    <a:pt x="7822" y="6140"/>
                  </a:lnTo>
                  <a:lnTo>
                    <a:pt x="7879" y="6197"/>
                  </a:lnTo>
                  <a:lnTo>
                    <a:pt x="7944" y="6319"/>
                  </a:lnTo>
                  <a:lnTo>
                    <a:pt x="7970" y="6423"/>
                  </a:lnTo>
                  <a:lnTo>
                    <a:pt x="8027" y="6606"/>
                  </a:lnTo>
                  <a:lnTo>
                    <a:pt x="7994" y="6744"/>
                  </a:lnTo>
                  <a:lnTo>
                    <a:pt x="7952" y="6844"/>
                  </a:lnTo>
                  <a:lnTo>
                    <a:pt x="7906" y="6901"/>
                  </a:lnTo>
                  <a:lnTo>
                    <a:pt x="7800" y="6906"/>
                  </a:lnTo>
                  <a:cubicBezTo>
                    <a:pt x="7788" y="6904"/>
                    <a:pt x="7776" y="6902"/>
                    <a:pt x="7764" y="6900"/>
                  </a:cubicBezTo>
                  <a:cubicBezTo>
                    <a:pt x="7753" y="6898"/>
                    <a:pt x="7741" y="6896"/>
                    <a:pt x="7729" y="6894"/>
                  </a:cubicBezTo>
                  <a:cubicBezTo>
                    <a:pt x="7702" y="6890"/>
                    <a:pt x="7674" y="6887"/>
                    <a:pt x="7647" y="6884"/>
                  </a:cubicBezTo>
                  <a:cubicBezTo>
                    <a:pt x="7620" y="6880"/>
                    <a:pt x="7593" y="6878"/>
                    <a:pt x="7565" y="6875"/>
                  </a:cubicBezTo>
                  <a:lnTo>
                    <a:pt x="7410" y="6851"/>
                  </a:lnTo>
                  <a:lnTo>
                    <a:pt x="7314" y="6816"/>
                  </a:lnTo>
                  <a:lnTo>
                    <a:pt x="7203" y="6781"/>
                  </a:lnTo>
                  <a:lnTo>
                    <a:pt x="7114" y="6751"/>
                  </a:lnTo>
                  <a:cubicBezTo>
                    <a:pt x="7069" y="6728"/>
                    <a:pt x="7018" y="6725"/>
                    <a:pt x="6972" y="6744"/>
                  </a:cubicBezTo>
                  <a:cubicBezTo>
                    <a:pt x="6940" y="6757"/>
                    <a:pt x="6912" y="6780"/>
                    <a:pt x="6893" y="6809"/>
                  </a:cubicBezTo>
                  <a:lnTo>
                    <a:pt x="6839" y="6970"/>
                  </a:lnTo>
                  <a:cubicBezTo>
                    <a:pt x="6843" y="6992"/>
                    <a:pt x="6844" y="7014"/>
                    <a:pt x="6844" y="7036"/>
                  </a:cubicBezTo>
                  <a:cubicBezTo>
                    <a:pt x="6844" y="7075"/>
                    <a:pt x="6839" y="7113"/>
                    <a:pt x="6828" y="7151"/>
                  </a:cubicBezTo>
                  <a:lnTo>
                    <a:pt x="6768" y="7275"/>
                  </a:lnTo>
                  <a:cubicBezTo>
                    <a:pt x="6753" y="7304"/>
                    <a:pt x="6737" y="7333"/>
                    <a:pt x="6719" y="7360"/>
                  </a:cubicBezTo>
                  <a:cubicBezTo>
                    <a:pt x="6686" y="7411"/>
                    <a:pt x="6646" y="7458"/>
                    <a:pt x="6607" y="7505"/>
                  </a:cubicBezTo>
                  <a:cubicBezTo>
                    <a:pt x="6567" y="7552"/>
                    <a:pt x="6527" y="7599"/>
                    <a:pt x="6487" y="7645"/>
                  </a:cubicBezTo>
                  <a:lnTo>
                    <a:pt x="6525" y="7748"/>
                  </a:lnTo>
                  <a:lnTo>
                    <a:pt x="6565" y="7805"/>
                  </a:lnTo>
                  <a:lnTo>
                    <a:pt x="6521" y="7894"/>
                  </a:lnTo>
                  <a:cubicBezTo>
                    <a:pt x="6510" y="7908"/>
                    <a:pt x="6504" y="7927"/>
                    <a:pt x="6504" y="7945"/>
                  </a:cubicBezTo>
                  <a:cubicBezTo>
                    <a:pt x="6504" y="7963"/>
                    <a:pt x="6510" y="7982"/>
                    <a:pt x="6521" y="7996"/>
                  </a:cubicBezTo>
                  <a:cubicBezTo>
                    <a:pt x="6532" y="8010"/>
                    <a:pt x="6546" y="8019"/>
                    <a:pt x="6561" y="8022"/>
                  </a:cubicBezTo>
                  <a:cubicBezTo>
                    <a:pt x="6577" y="8026"/>
                    <a:pt x="6594" y="8025"/>
                    <a:pt x="6609" y="8018"/>
                  </a:cubicBezTo>
                  <a:lnTo>
                    <a:pt x="6701" y="8037"/>
                  </a:lnTo>
                  <a:lnTo>
                    <a:pt x="6843" y="8088"/>
                  </a:lnTo>
                  <a:lnTo>
                    <a:pt x="6861" y="8195"/>
                  </a:lnTo>
                  <a:lnTo>
                    <a:pt x="6916" y="8308"/>
                  </a:lnTo>
                  <a:lnTo>
                    <a:pt x="6992" y="8308"/>
                  </a:lnTo>
                  <a:lnTo>
                    <a:pt x="7079" y="8279"/>
                  </a:lnTo>
                  <a:cubicBezTo>
                    <a:pt x="7119" y="8261"/>
                    <a:pt x="7159" y="8247"/>
                    <a:pt x="7202" y="8237"/>
                  </a:cubicBezTo>
                  <a:cubicBezTo>
                    <a:pt x="7262" y="8223"/>
                    <a:pt x="7324" y="8216"/>
                    <a:pt x="7387" y="8219"/>
                  </a:cubicBezTo>
                  <a:lnTo>
                    <a:pt x="7553" y="8184"/>
                  </a:lnTo>
                  <a:lnTo>
                    <a:pt x="7684" y="8138"/>
                  </a:lnTo>
                  <a:lnTo>
                    <a:pt x="7861" y="8098"/>
                  </a:lnTo>
                  <a:cubicBezTo>
                    <a:pt x="7893" y="8074"/>
                    <a:pt x="7922" y="8046"/>
                    <a:pt x="7946" y="8015"/>
                  </a:cubicBezTo>
                  <a:cubicBezTo>
                    <a:pt x="7982" y="7969"/>
                    <a:pt x="8008" y="7917"/>
                    <a:pt x="8025" y="7860"/>
                  </a:cubicBezTo>
                  <a:cubicBezTo>
                    <a:pt x="8005" y="7849"/>
                    <a:pt x="7988" y="7833"/>
                    <a:pt x="7976" y="7814"/>
                  </a:cubicBezTo>
                  <a:cubicBezTo>
                    <a:pt x="7963" y="7794"/>
                    <a:pt x="7956" y="7771"/>
                    <a:pt x="7953" y="7748"/>
                  </a:cubicBezTo>
                  <a:cubicBezTo>
                    <a:pt x="7949" y="7708"/>
                    <a:pt x="7960" y="7670"/>
                    <a:pt x="7982" y="7641"/>
                  </a:cubicBezTo>
                  <a:cubicBezTo>
                    <a:pt x="8003" y="7611"/>
                    <a:pt x="8035" y="7590"/>
                    <a:pt x="8073" y="7584"/>
                  </a:cubicBezTo>
                  <a:cubicBezTo>
                    <a:pt x="8078" y="7568"/>
                    <a:pt x="8085" y="7552"/>
                    <a:pt x="8095" y="7538"/>
                  </a:cubicBezTo>
                  <a:cubicBezTo>
                    <a:pt x="8105" y="7524"/>
                    <a:pt x="8118" y="7512"/>
                    <a:pt x="8132" y="7503"/>
                  </a:cubicBezTo>
                  <a:cubicBezTo>
                    <a:pt x="8205" y="7457"/>
                    <a:pt x="8297" y="7491"/>
                    <a:pt x="8378" y="7470"/>
                  </a:cubicBezTo>
                  <a:cubicBezTo>
                    <a:pt x="8423" y="7458"/>
                    <a:pt x="8462" y="7429"/>
                    <a:pt x="8497" y="7398"/>
                  </a:cubicBezTo>
                  <a:cubicBezTo>
                    <a:pt x="8530" y="7369"/>
                    <a:pt x="8561" y="7337"/>
                    <a:pt x="8590" y="7303"/>
                  </a:cubicBezTo>
                  <a:lnTo>
                    <a:pt x="8630" y="7137"/>
                  </a:lnTo>
                  <a:cubicBezTo>
                    <a:pt x="8633" y="7101"/>
                    <a:pt x="8655" y="7069"/>
                    <a:pt x="8686" y="7054"/>
                  </a:cubicBezTo>
                  <a:cubicBezTo>
                    <a:pt x="8718" y="7038"/>
                    <a:pt x="8754" y="7042"/>
                    <a:pt x="8788" y="7052"/>
                  </a:cubicBezTo>
                  <a:cubicBezTo>
                    <a:pt x="8846" y="7070"/>
                    <a:pt x="8898" y="7104"/>
                    <a:pt x="8937" y="7152"/>
                  </a:cubicBezTo>
                  <a:cubicBezTo>
                    <a:pt x="8963" y="7158"/>
                    <a:pt x="8989" y="7158"/>
                    <a:pt x="9015" y="7152"/>
                  </a:cubicBezTo>
                  <a:cubicBezTo>
                    <a:pt x="9055" y="7143"/>
                    <a:pt x="9091" y="7120"/>
                    <a:pt x="9129" y="7102"/>
                  </a:cubicBezTo>
                  <a:cubicBezTo>
                    <a:pt x="9224" y="7057"/>
                    <a:pt x="9331" y="7046"/>
                    <a:pt x="9432" y="7070"/>
                  </a:cubicBezTo>
                  <a:lnTo>
                    <a:pt x="9453" y="6998"/>
                  </a:lnTo>
                  <a:lnTo>
                    <a:pt x="9623" y="7010"/>
                  </a:lnTo>
                  <a:lnTo>
                    <a:pt x="9646" y="7079"/>
                  </a:lnTo>
                  <a:lnTo>
                    <a:pt x="9618" y="7194"/>
                  </a:lnTo>
                  <a:lnTo>
                    <a:pt x="9714" y="7306"/>
                  </a:lnTo>
                  <a:cubicBezTo>
                    <a:pt x="9736" y="7317"/>
                    <a:pt x="9756" y="7329"/>
                    <a:pt x="9776" y="7341"/>
                  </a:cubicBezTo>
                  <a:cubicBezTo>
                    <a:pt x="9796" y="7354"/>
                    <a:pt x="9816" y="7367"/>
                    <a:pt x="9834" y="7382"/>
                  </a:cubicBezTo>
                  <a:cubicBezTo>
                    <a:pt x="9867" y="7406"/>
                    <a:pt x="9896" y="7432"/>
                    <a:pt x="9928" y="7456"/>
                  </a:cubicBezTo>
                  <a:cubicBezTo>
                    <a:pt x="10004" y="7515"/>
                    <a:pt x="10088" y="7562"/>
                    <a:pt x="10176" y="7594"/>
                  </a:cubicBezTo>
                  <a:cubicBezTo>
                    <a:pt x="10192" y="7646"/>
                    <a:pt x="10218" y="7694"/>
                    <a:pt x="10253" y="7734"/>
                  </a:cubicBezTo>
                  <a:cubicBezTo>
                    <a:pt x="10286" y="7773"/>
                    <a:pt x="10326" y="7804"/>
                    <a:pt x="10370" y="7825"/>
                  </a:cubicBezTo>
                  <a:lnTo>
                    <a:pt x="10415" y="7902"/>
                  </a:lnTo>
                  <a:cubicBezTo>
                    <a:pt x="10427" y="7920"/>
                    <a:pt x="10436" y="7942"/>
                    <a:pt x="10439" y="7964"/>
                  </a:cubicBezTo>
                  <a:cubicBezTo>
                    <a:pt x="10446" y="8008"/>
                    <a:pt x="10434" y="8051"/>
                    <a:pt x="10406" y="8084"/>
                  </a:cubicBezTo>
                  <a:cubicBezTo>
                    <a:pt x="10412" y="8109"/>
                    <a:pt x="10405" y="8134"/>
                    <a:pt x="10390" y="8153"/>
                  </a:cubicBezTo>
                  <a:cubicBezTo>
                    <a:pt x="10371" y="8175"/>
                    <a:pt x="10343" y="8185"/>
                    <a:pt x="10316" y="8179"/>
                  </a:cubicBezTo>
                  <a:lnTo>
                    <a:pt x="10244" y="8142"/>
                  </a:lnTo>
                  <a:lnTo>
                    <a:pt x="10174" y="8167"/>
                  </a:lnTo>
                  <a:lnTo>
                    <a:pt x="10117" y="8154"/>
                  </a:lnTo>
                  <a:lnTo>
                    <a:pt x="10058" y="8096"/>
                  </a:lnTo>
                  <a:cubicBezTo>
                    <a:pt x="10037" y="8088"/>
                    <a:pt x="10015" y="8084"/>
                    <a:pt x="9993" y="8084"/>
                  </a:cubicBezTo>
                  <a:cubicBezTo>
                    <a:pt x="9961" y="8084"/>
                    <a:pt x="9929" y="8092"/>
                    <a:pt x="9901" y="8107"/>
                  </a:cubicBezTo>
                  <a:lnTo>
                    <a:pt x="9824" y="8180"/>
                  </a:lnTo>
                  <a:lnTo>
                    <a:pt x="9935" y="8250"/>
                  </a:lnTo>
                  <a:lnTo>
                    <a:pt x="10041" y="8311"/>
                  </a:lnTo>
                  <a:lnTo>
                    <a:pt x="10157" y="8375"/>
                  </a:lnTo>
                  <a:cubicBezTo>
                    <a:pt x="10167" y="8370"/>
                    <a:pt x="10177" y="8368"/>
                    <a:pt x="10187" y="8369"/>
                  </a:cubicBezTo>
                  <a:cubicBezTo>
                    <a:pt x="10197" y="8370"/>
                    <a:pt x="10206" y="8374"/>
                    <a:pt x="10215" y="8380"/>
                  </a:cubicBezTo>
                  <a:cubicBezTo>
                    <a:pt x="10233" y="8392"/>
                    <a:pt x="10243" y="8414"/>
                    <a:pt x="10254" y="8434"/>
                  </a:cubicBezTo>
                  <a:cubicBezTo>
                    <a:pt x="10265" y="8454"/>
                    <a:pt x="10277" y="8473"/>
                    <a:pt x="10298" y="8481"/>
                  </a:cubicBezTo>
                  <a:cubicBezTo>
                    <a:pt x="10328" y="8494"/>
                    <a:pt x="10357" y="8481"/>
                    <a:pt x="10373" y="8458"/>
                  </a:cubicBezTo>
                  <a:cubicBezTo>
                    <a:pt x="10390" y="8435"/>
                    <a:pt x="10394" y="8402"/>
                    <a:pt x="10374" y="8375"/>
                  </a:cubicBezTo>
                  <a:lnTo>
                    <a:pt x="10393" y="8246"/>
                  </a:lnTo>
                  <a:lnTo>
                    <a:pt x="10494" y="8199"/>
                  </a:lnTo>
                  <a:lnTo>
                    <a:pt x="10554" y="8142"/>
                  </a:lnTo>
                  <a:lnTo>
                    <a:pt x="10580" y="8054"/>
                  </a:lnTo>
                  <a:cubicBezTo>
                    <a:pt x="10612" y="8045"/>
                    <a:pt x="10640" y="8018"/>
                    <a:pt x="10653" y="7986"/>
                  </a:cubicBezTo>
                  <a:cubicBezTo>
                    <a:pt x="10671" y="7938"/>
                    <a:pt x="10660" y="7884"/>
                    <a:pt x="10624" y="7849"/>
                  </a:cubicBezTo>
                  <a:lnTo>
                    <a:pt x="10619" y="7744"/>
                  </a:lnTo>
                  <a:lnTo>
                    <a:pt x="10672" y="7713"/>
                  </a:lnTo>
                  <a:lnTo>
                    <a:pt x="10733" y="7814"/>
                  </a:lnTo>
                  <a:lnTo>
                    <a:pt x="10793" y="7857"/>
                  </a:lnTo>
                  <a:lnTo>
                    <a:pt x="10864" y="7774"/>
                  </a:lnTo>
                  <a:lnTo>
                    <a:pt x="10787" y="7626"/>
                  </a:lnTo>
                  <a:lnTo>
                    <a:pt x="10665" y="7580"/>
                  </a:lnTo>
                  <a:cubicBezTo>
                    <a:pt x="10629" y="7560"/>
                    <a:pt x="10595" y="7534"/>
                    <a:pt x="10566" y="7503"/>
                  </a:cubicBezTo>
                  <a:cubicBezTo>
                    <a:pt x="10540" y="7476"/>
                    <a:pt x="10518" y="7448"/>
                    <a:pt x="10499" y="7416"/>
                  </a:cubicBezTo>
                  <a:lnTo>
                    <a:pt x="10392" y="7337"/>
                  </a:lnTo>
                  <a:lnTo>
                    <a:pt x="10286" y="7255"/>
                  </a:lnTo>
                  <a:lnTo>
                    <a:pt x="10131" y="7189"/>
                  </a:lnTo>
                  <a:lnTo>
                    <a:pt x="10091" y="7064"/>
                  </a:lnTo>
                  <a:lnTo>
                    <a:pt x="10058" y="6966"/>
                  </a:lnTo>
                  <a:lnTo>
                    <a:pt x="9993" y="6941"/>
                  </a:lnTo>
                  <a:lnTo>
                    <a:pt x="9970" y="6829"/>
                  </a:lnTo>
                  <a:lnTo>
                    <a:pt x="10013" y="6739"/>
                  </a:lnTo>
                  <a:lnTo>
                    <a:pt x="10077" y="6744"/>
                  </a:lnTo>
                  <a:lnTo>
                    <a:pt x="10122" y="6804"/>
                  </a:lnTo>
                  <a:lnTo>
                    <a:pt x="10162" y="6893"/>
                  </a:lnTo>
                  <a:lnTo>
                    <a:pt x="10215" y="6963"/>
                  </a:lnTo>
                  <a:lnTo>
                    <a:pt x="10310" y="6981"/>
                  </a:lnTo>
                  <a:lnTo>
                    <a:pt x="10392" y="7040"/>
                  </a:lnTo>
                  <a:cubicBezTo>
                    <a:pt x="10406" y="7043"/>
                    <a:pt x="10420" y="7049"/>
                    <a:pt x="10431" y="7059"/>
                  </a:cubicBezTo>
                  <a:cubicBezTo>
                    <a:pt x="10442" y="7069"/>
                    <a:pt x="10451" y="7081"/>
                    <a:pt x="10456" y="7095"/>
                  </a:cubicBezTo>
                  <a:cubicBezTo>
                    <a:pt x="10464" y="7117"/>
                    <a:pt x="10464" y="7140"/>
                    <a:pt x="10457" y="7160"/>
                  </a:cubicBezTo>
                  <a:cubicBezTo>
                    <a:pt x="10451" y="7181"/>
                    <a:pt x="10437" y="7199"/>
                    <a:pt x="10419" y="7210"/>
                  </a:cubicBezTo>
                  <a:lnTo>
                    <a:pt x="10541" y="7252"/>
                  </a:lnTo>
                  <a:lnTo>
                    <a:pt x="10616" y="7258"/>
                  </a:lnTo>
                  <a:cubicBezTo>
                    <a:pt x="10642" y="7261"/>
                    <a:pt x="10668" y="7270"/>
                    <a:pt x="10693" y="7280"/>
                  </a:cubicBezTo>
                  <a:cubicBezTo>
                    <a:pt x="10738" y="7300"/>
                    <a:pt x="10777" y="7328"/>
                    <a:pt x="10811" y="7364"/>
                  </a:cubicBezTo>
                  <a:lnTo>
                    <a:pt x="10877" y="7399"/>
                  </a:lnTo>
                  <a:lnTo>
                    <a:pt x="10955" y="7441"/>
                  </a:lnTo>
                  <a:lnTo>
                    <a:pt x="10952" y="7621"/>
                  </a:lnTo>
                  <a:lnTo>
                    <a:pt x="10988" y="7838"/>
                  </a:lnTo>
                  <a:lnTo>
                    <a:pt x="11132" y="7898"/>
                  </a:lnTo>
                  <a:lnTo>
                    <a:pt x="11187" y="7975"/>
                  </a:lnTo>
                  <a:lnTo>
                    <a:pt x="11183" y="8110"/>
                  </a:lnTo>
                  <a:lnTo>
                    <a:pt x="11183" y="8203"/>
                  </a:lnTo>
                  <a:lnTo>
                    <a:pt x="11213" y="8272"/>
                  </a:lnTo>
                  <a:lnTo>
                    <a:pt x="11280" y="8276"/>
                  </a:lnTo>
                  <a:lnTo>
                    <a:pt x="11317" y="8389"/>
                  </a:lnTo>
                  <a:lnTo>
                    <a:pt x="11408" y="8452"/>
                  </a:lnTo>
                  <a:lnTo>
                    <a:pt x="11525" y="8452"/>
                  </a:lnTo>
                  <a:cubicBezTo>
                    <a:pt x="11498" y="8491"/>
                    <a:pt x="11512" y="8548"/>
                    <a:pt x="11555" y="8568"/>
                  </a:cubicBezTo>
                  <a:cubicBezTo>
                    <a:pt x="11614" y="8595"/>
                    <a:pt x="11678" y="8538"/>
                    <a:pt x="11662" y="8472"/>
                  </a:cubicBezTo>
                  <a:cubicBezTo>
                    <a:pt x="11596" y="8465"/>
                    <a:pt x="11567" y="8381"/>
                    <a:pt x="11614" y="8330"/>
                  </a:cubicBezTo>
                  <a:cubicBezTo>
                    <a:pt x="11637" y="8305"/>
                    <a:pt x="11673" y="8301"/>
                    <a:pt x="11702" y="8321"/>
                  </a:cubicBezTo>
                  <a:lnTo>
                    <a:pt x="11768" y="8373"/>
                  </a:lnTo>
                  <a:lnTo>
                    <a:pt x="11785" y="8434"/>
                  </a:lnTo>
                  <a:lnTo>
                    <a:pt x="11791" y="8499"/>
                  </a:lnTo>
                  <a:lnTo>
                    <a:pt x="11829" y="8633"/>
                  </a:lnTo>
                  <a:lnTo>
                    <a:pt x="11728" y="8592"/>
                  </a:lnTo>
                  <a:lnTo>
                    <a:pt x="11659" y="8618"/>
                  </a:lnTo>
                  <a:cubicBezTo>
                    <a:pt x="11635" y="8642"/>
                    <a:pt x="11627" y="8678"/>
                    <a:pt x="11638" y="8710"/>
                  </a:cubicBezTo>
                  <a:cubicBezTo>
                    <a:pt x="11662" y="8784"/>
                    <a:pt x="11754" y="8801"/>
                    <a:pt x="11800" y="8739"/>
                  </a:cubicBezTo>
                  <a:cubicBezTo>
                    <a:pt x="11822" y="8744"/>
                    <a:pt x="11844" y="8748"/>
                    <a:pt x="11867" y="8751"/>
                  </a:cubicBezTo>
                  <a:cubicBezTo>
                    <a:pt x="11889" y="8754"/>
                    <a:pt x="11911" y="8756"/>
                    <a:pt x="11934" y="8757"/>
                  </a:cubicBezTo>
                  <a:cubicBezTo>
                    <a:pt x="11960" y="8758"/>
                    <a:pt x="11986" y="8759"/>
                    <a:pt x="12012" y="8758"/>
                  </a:cubicBezTo>
                  <a:cubicBezTo>
                    <a:pt x="12038" y="8757"/>
                    <a:pt x="12064" y="8755"/>
                    <a:pt x="12090" y="8751"/>
                  </a:cubicBezTo>
                  <a:cubicBezTo>
                    <a:pt x="12108" y="8726"/>
                    <a:pt x="12109" y="8692"/>
                    <a:pt x="12095" y="8664"/>
                  </a:cubicBezTo>
                  <a:cubicBezTo>
                    <a:pt x="12059" y="8594"/>
                    <a:pt x="11966" y="8596"/>
                    <a:pt x="11933" y="8666"/>
                  </a:cubicBezTo>
                  <a:lnTo>
                    <a:pt x="11897" y="8614"/>
                  </a:lnTo>
                  <a:lnTo>
                    <a:pt x="11865" y="8443"/>
                  </a:lnTo>
                  <a:lnTo>
                    <a:pt x="11936" y="8461"/>
                  </a:lnTo>
                  <a:lnTo>
                    <a:pt x="12035" y="8421"/>
                  </a:lnTo>
                  <a:cubicBezTo>
                    <a:pt x="12035" y="8410"/>
                    <a:pt x="12036" y="8398"/>
                    <a:pt x="12036" y="8387"/>
                  </a:cubicBezTo>
                  <a:cubicBezTo>
                    <a:pt x="12036" y="8376"/>
                    <a:pt x="12035" y="8365"/>
                    <a:pt x="12035" y="8354"/>
                  </a:cubicBezTo>
                  <a:cubicBezTo>
                    <a:pt x="12034" y="8339"/>
                    <a:pt x="12033" y="8323"/>
                    <a:pt x="12030" y="8308"/>
                  </a:cubicBezTo>
                  <a:cubicBezTo>
                    <a:pt x="12028" y="8293"/>
                    <a:pt x="12025" y="8278"/>
                    <a:pt x="12022" y="8262"/>
                  </a:cubicBezTo>
                  <a:cubicBezTo>
                    <a:pt x="11999" y="8239"/>
                    <a:pt x="11977" y="8215"/>
                    <a:pt x="11956" y="8191"/>
                  </a:cubicBezTo>
                  <a:cubicBezTo>
                    <a:pt x="11926" y="8159"/>
                    <a:pt x="11897" y="8126"/>
                    <a:pt x="11870" y="8092"/>
                  </a:cubicBezTo>
                  <a:lnTo>
                    <a:pt x="11746" y="8003"/>
                  </a:lnTo>
                  <a:lnTo>
                    <a:pt x="11741" y="7887"/>
                  </a:lnTo>
                  <a:lnTo>
                    <a:pt x="11686" y="7822"/>
                  </a:lnTo>
                  <a:lnTo>
                    <a:pt x="11610" y="7840"/>
                  </a:lnTo>
                  <a:lnTo>
                    <a:pt x="11619" y="7699"/>
                  </a:lnTo>
                  <a:cubicBezTo>
                    <a:pt x="11632" y="7700"/>
                    <a:pt x="11645" y="7700"/>
                    <a:pt x="11658" y="7698"/>
                  </a:cubicBezTo>
                  <a:cubicBezTo>
                    <a:pt x="11671" y="7697"/>
                    <a:pt x="11684" y="7694"/>
                    <a:pt x="11696" y="7690"/>
                  </a:cubicBezTo>
                  <a:cubicBezTo>
                    <a:pt x="11714" y="7683"/>
                    <a:pt x="11731" y="7675"/>
                    <a:pt x="11747" y="7664"/>
                  </a:cubicBezTo>
                  <a:cubicBezTo>
                    <a:pt x="11762" y="7653"/>
                    <a:pt x="11776" y="7640"/>
                    <a:pt x="11788" y="7625"/>
                  </a:cubicBezTo>
                  <a:cubicBezTo>
                    <a:pt x="11830" y="7583"/>
                    <a:pt x="11896" y="7592"/>
                    <a:pt x="11926" y="7642"/>
                  </a:cubicBezTo>
                  <a:cubicBezTo>
                    <a:pt x="11956" y="7691"/>
                    <a:pt x="11938" y="7756"/>
                    <a:pt x="11888" y="7780"/>
                  </a:cubicBezTo>
                  <a:lnTo>
                    <a:pt x="11913" y="7903"/>
                  </a:lnTo>
                  <a:lnTo>
                    <a:pt x="11979" y="8018"/>
                  </a:lnTo>
                  <a:lnTo>
                    <a:pt x="12027" y="8121"/>
                  </a:lnTo>
                  <a:lnTo>
                    <a:pt x="12084" y="8290"/>
                  </a:lnTo>
                  <a:lnTo>
                    <a:pt x="12100" y="8350"/>
                  </a:lnTo>
                  <a:lnTo>
                    <a:pt x="12176" y="8380"/>
                  </a:lnTo>
                  <a:lnTo>
                    <a:pt x="12253" y="8489"/>
                  </a:lnTo>
                  <a:lnTo>
                    <a:pt x="12268" y="8589"/>
                  </a:lnTo>
                  <a:lnTo>
                    <a:pt x="12216" y="8642"/>
                  </a:lnTo>
                  <a:lnTo>
                    <a:pt x="12238" y="8719"/>
                  </a:lnTo>
                  <a:lnTo>
                    <a:pt x="12318" y="8674"/>
                  </a:lnTo>
                  <a:lnTo>
                    <a:pt x="12318" y="8550"/>
                  </a:lnTo>
                  <a:lnTo>
                    <a:pt x="12389" y="8546"/>
                  </a:lnTo>
                  <a:lnTo>
                    <a:pt x="12383" y="8427"/>
                  </a:lnTo>
                  <a:lnTo>
                    <a:pt x="12472" y="8380"/>
                  </a:lnTo>
                  <a:lnTo>
                    <a:pt x="12545" y="8433"/>
                  </a:lnTo>
                  <a:lnTo>
                    <a:pt x="12583" y="8493"/>
                  </a:lnTo>
                  <a:lnTo>
                    <a:pt x="12680" y="8492"/>
                  </a:lnTo>
                  <a:lnTo>
                    <a:pt x="12719" y="8445"/>
                  </a:lnTo>
                  <a:lnTo>
                    <a:pt x="12771" y="8392"/>
                  </a:lnTo>
                  <a:lnTo>
                    <a:pt x="12859" y="8339"/>
                  </a:lnTo>
                  <a:lnTo>
                    <a:pt x="12943" y="8362"/>
                  </a:lnTo>
                  <a:lnTo>
                    <a:pt x="13031" y="8433"/>
                  </a:lnTo>
                  <a:lnTo>
                    <a:pt x="13205" y="8441"/>
                  </a:lnTo>
                  <a:lnTo>
                    <a:pt x="13250" y="8362"/>
                  </a:lnTo>
                  <a:cubicBezTo>
                    <a:pt x="13261" y="8344"/>
                    <a:pt x="13274" y="8328"/>
                    <a:pt x="13289" y="8313"/>
                  </a:cubicBezTo>
                  <a:cubicBezTo>
                    <a:pt x="13304" y="8298"/>
                    <a:pt x="13321" y="8285"/>
                    <a:pt x="13339" y="8275"/>
                  </a:cubicBezTo>
                  <a:cubicBezTo>
                    <a:pt x="13369" y="8257"/>
                    <a:pt x="13402" y="8246"/>
                    <a:pt x="13435" y="8242"/>
                  </a:cubicBezTo>
                  <a:cubicBezTo>
                    <a:pt x="13468" y="8238"/>
                    <a:pt x="13502" y="8241"/>
                    <a:pt x="13534" y="8250"/>
                  </a:cubicBezTo>
                  <a:cubicBezTo>
                    <a:pt x="13547" y="8256"/>
                    <a:pt x="13558" y="8264"/>
                    <a:pt x="13566" y="8274"/>
                  </a:cubicBezTo>
                  <a:cubicBezTo>
                    <a:pt x="13575" y="8284"/>
                    <a:pt x="13582" y="8297"/>
                    <a:pt x="13585" y="8310"/>
                  </a:cubicBezTo>
                  <a:cubicBezTo>
                    <a:pt x="13605" y="8377"/>
                    <a:pt x="13554" y="8437"/>
                    <a:pt x="13532" y="8502"/>
                  </a:cubicBezTo>
                  <a:cubicBezTo>
                    <a:pt x="13511" y="8561"/>
                    <a:pt x="13515" y="8626"/>
                    <a:pt x="13511" y="8689"/>
                  </a:cubicBezTo>
                  <a:cubicBezTo>
                    <a:pt x="13510" y="8714"/>
                    <a:pt x="13507" y="8739"/>
                    <a:pt x="13503" y="8764"/>
                  </a:cubicBezTo>
                  <a:cubicBezTo>
                    <a:pt x="13499" y="8789"/>
                    <a:pt x="13494" y="8814"/>
                    <a:pt x="13487" y="8838"/>
                  </a:cubicBezTo>
                  <a:cubicBezTo>
                    <a:pt x="13493" y="8881"/>
                    <a:pt x="13496" y="8923"/>
                    <a:pt x="13497" y="8966"/>
                  </a:cubicBezTo>
                  <a:cubicBezTo>
                    <a:pt x="13498" y="9010"/>
                    <a:pt x="13497" y="9053"/>
                    <a:pt x="13492" y="9096"/>
                  </a:cubicBezTo>
                  <a:lnTo>
                    <a:pt x="13456" y="9216"/>
                  </a:lnTo>
                  <a:cubicBezTo>
                    <a:pt x="13450" y="9229"/>
                    <a:pt x="13443" y="9241"/>
                    <a:pt x="13435" y="9253"/>
                  </a:cubicBezTo>
                  <a:cubicBezTo>
                    <a:pt x="13427" y="9264"/>
                    <a:pt x="13418" y="9275"/>
                    <a:pt x="13408" y="9285"/>
                  </a:cubicBezTo>
                  <a:cubicBezTo>
                    <a:pt x="13394" y="9299"/>
                    <a:pt x="13379" y="9311"/>
                    <a:pt x="13362" y="9321"/>
                  </a:cubicBezTo>
                  <a:cubicBezTo>
                    <a:pt x="13346" y="9331"/>
                    <a:pt x="13328" y="9339"/>
                    <a:pt x="13310" y="9344"/>
                  </a:cubicBezTo>
                  <a:cubicBezTo>
                    <a:pt x="13276" y="9346"/>
                    <a:pt x="13242" y="9346"/>
                    <a:pt x="13208" y="9344"/>
                  </a:cubicBezTo>
                  <a:cubicBezTo>
                    <a:pt x="13172" y="9342"/>
                    <a:pt x="13137" y="9338"/>
                    <a:pt x="13102" y="9332"/>
                  </a:cubicBezTo>
                  <a:lnTo>
                    <a:pt x="13000" y="9338"/>
                  </a:lnTo>
                  <a:lnTo>
                    <a:pt x="12807" y="9376"/>
                  </a:lnTo>
                  <a:lnTo>
                    <a:pt x="12754" y="9447"/>
                  </a:lnTo>
                  <a:lnTo>
                    <a:pt x="12606" y="9481"/>
                  </a:lnTo>
                  <a:lnTo>
                    <a:pt x="12495" y="9486"/>
                  </a:lnTo>
                  <a:lnTo>
                    <a:pt x="12345" y="9421"/>
                  </a:lnTo>
                  <a:lnTo>
                    <a:pt x="12252" y="9392"/>
                  </a:lnTo>
                  <a:lnTo>
                    <a:pt x="12102" y="9331"/>
                  </a:lnTo>
                  <a:lnTo>
                    <a:pt x="11902" y="9331"/>
                  </a:lnTo>
                  <a:lnTo>
                    <a:pt x="11739" y="9319"/>
                  </a:lnTo>
                  <a:lnTo>
                    <a:pt x="11645" y="9236"/>
                  </a:lnTo>
                  <a:lnTo>
                    <a:pt x="11536" y="9196"/>
                  </a:lnTo>
                  <a:lnTo>
                    <a:pt x="11362" y="9203"/>
                  </a:lnTo>
                  <a:cubicBezTo>
                    <a:pt x="11350" y="9223"/>
                    <a:pt x="11337" y="9241"/>
                    <a:pt x="11323" y="9259"/>
                  </a:cubicBezTo>
                  <a:cubicBezTo>
                    <a:pt x="11289" y="9301"/>
                    <a:pt x="11250" y="9337"/>
                    <a:pt x="11228" y="9386"/>
                  </a:cubicBezTo>
                  <a:cubicBezTo>
                    <a:pt x="11211" y="9423"/>
                    <a:pt x="11206" y="9464"/>
                    <a:pt x="11189" y="9500"/>
                  </a:cubicBezTo>
                  <a:cubicBezTo>
                    <a:pt x="11170" y="9538"/>
                    <a:pt x="11139" y="9568"/>
                    <a:pt x="11102" y="9584"/>
                  </a:cubicBezTo>
                  <a:cubicBezTo>
                    <a:pt x="11087" y="9591"/>
                    <a:pt x="11071" y="9598"/>
                    <a:pt x="11055" y="9604"/>
                  </a:cubicBezTo>
                  <a:cubicBezTo>
                    <a:pt x="11039" y="9609"/>
                    <a:pt x="11023" y="9614"/>
                    <a:pt x="11006" y="9617"/>
                  </a:cubicBezTo>
                  <a:cubicBezTo>
                    <a:pt x="10983" y="9622"/>
                    <a:pt x="10959" y="9625"/>
                    <a:pt x="10935" y="9625"/>
                  </a:cubicBezTo>
                  <a:cubicBezTo>
                    <a:pt x="10911" y="9625"/>
                    <a:pt x="10887" y="9622"/>
                    <a:pt x="10863" y="9617"/>
                  </a:cubicBezTo>
                  <a:lnTo>
                    <a:pt x="10757" y="9565"/>
                  </a:lnTo>
                  <a:lnTo>
                    <a:pt x="10668" y="9516"/>
                  </a:lnTo>
                  <a:cubicBezTo>
                    <a:pt x="10624" y="9488"/>
                    <a:pt x="10579" y="9463"/>
                    <a:pt x="10533" y="9440"/>
                  </a:cubicBezTo>
                  <a:cubicBezTo>
                    <a:pt x="10482" y="9416"/>
                    <a:pt x="10430" y="9394"/>
                    <a:pt x="10379" y="9369"/>
                  </a:cubicBezTo>
                  <a:cubicBezTo>
                    <a:pt x="10338" y="9348"/>
                    <a:pt x="10298" y="9324"/>
                    <a:pt x="10259" y="9299"/>
                  </a:cubicBezTo>
                  <a:lnTo>
                    <a:pt x="10088" y="9246"/>
                  </a:lnTo>
                  <a:lnTo>
                    <a:pt x="9903" y="9240"/>
                  </a:lnTo>
                  <a:lnTo>
                    <a:pt x="9745" y="9135"/>
                  </a:lnTo>
                  <a:lnTo>
                    <a:pt x="9665" y="9045"/>
                  </a:lnTo>
                  <a:lnTo>
                    <a:pt x="9588" y="8955"/>
                  </a:lnTo>
                  <a:lnTo>
                    <a:pt x="9471" y="8973"/>
                  </a:lnTo>
                  <a:lnTo>
                    <a:pt x="9504" y="8896"/>
                  </a:lnTo>
                  <a:lnTo>
                    <a:pt x="9632" y="8860"/>
                  </a:lnTo>
                  <a:lnTo>
                    <a:pt x="9655" y="8731"/>
                  </a:lnTo>
                  <a:lnTo>
                    <a:pt x="9572" y="8599"/>
                  </a:lnTo>
                  <a:lnTo>
                    <a:pt x="9578" y="8535"/>
                  </a:lnTo>
                  <a:lnTo>
                    <a:pt x="9652" y="8414"/>
                  </a:lnTo>
                  <a:lnTo>
                    <a:pt x="9669" y="8304"/>
                  </a:lnTo>
                  <a:lnTo>
                    <a:pt x="9582" y="8304"/>
                  </a:lnTo>
                  <a:lnTo>
                    <a:pt x="9512" y="8269"/>
                  </a:lnTo>
                  <a:lnTo>
                    <a:pt x="9421" y="8223"/>
                  </a:lnTo>
                  <a:cubicBezTo>
                    <a:pt x="9365" y="8235"/>
                    <a:pt x="9311" y="8245"/>
                    <a:pt x="9255" y="8253"/>
                  </a:cubicBezTo>
                  <a:cubicBezTo>
                    <a:pt x="9155" y="8267"/>
                    <a:pt x="9054" y="8274"/>
                    <a:pt x="8954" y="8275"/>
                  </a:cubicBezTo>
                  <a:cubicBezTo>
                    <a:pt x="8916" y="8290"/>
                    <a:pt x="8876" y="8301"/>
                    <a:pt x="8836" y="8309"/>
                  </a:cubicBezTo>
                  <a:cubicBezTo>
                    <a:pt x="8796" y="8316"/>
                    <a:pt x="8755" y="8320"/>
                    <a:pt x="8714" y="8321"/>
                  </a:cubicBezTo>
                  <a:cubicBezTo>
                    <a:pt x="8668" y="8321"/>
                    <a:pt x="8623" y="8317"/>
                    <a:pt x="8578" y="8308"/>
                  </a:cubicBezTo>
                  <a:cubicBezTo>
                    <a:pt x="8533" y="8300"/>
                    <a:pt x="8489" y="8287"/>
                    <a:pt x="8446" y="8269"/>
                  </a:cubicBezTo>
                  <a:lnTo>
                    <a:pt x="8385" y="8269"/>
                  </a:lnTo>
                  <a:lnTo>
                    <a:pt x="8346" y="8315"/>
                  </a:lnTo>
                  <a:lnTo>
                    <a:pt x="8293" y="8333"/>
                  </a:lnTo>
                  <a:lnTo>
                    <a:pt x="8221" y="8325"/>
                  </a:lnTo>
                  <a:lnTo>
                    <a:pt x="8119" y="8312"/>
                  </a:lnTo>
                  <a:lnTo>
                    <a:pt x="8058" y="8319"/>
                  </a:lnTo>
                  <a:lnTo>
                    <a:pt x="7953" y="8354"/>
                  </a:lnTo>
                  <a:cubicBezTo>
                    <a:pt x="7883" y="8367"/>
                    <a:pt x="7812" y="8379"/>
                    <a:pt x="7741" y="8389"/>
                  </a:cubicBezTo>
                  <a:cubicBezTo>
                    <a:pt x="7684" y="8398"/>
                    <a:pt x="7626" y="8407"/>
                    <a:pt x="7568" y="8414"/>
                  </a:cubicBezTo>
                  <a:lnTo>
                    <a:pt x="7385" y="8419"/>
                  </a:lnTo>
                  <a:lnTo>
                    <a:pt x="7279" y="8419"/>
                  </a:lnTo>
                  <a:cubicBezTo>
                    <a:pt x="7250" y="8421"/>
                    <a:pt x="7221" y="8424"/>
                    <a:pt x="7193" y="8426"/>
                  </a:cubicBezTo>
                  <a:cubicBezTo>
                    <a:pt x="7146" y="8429"/>
                    <a:pt x="7098" y="8431"/>
                    <a:pt x="7051" y="8431"/>
                  </a:cubicBezTo>
                  <a:lnTo>
                    <a:pt x="6971" y="8388"/>
                  </a:lnTo>
                  <a:lnTo>
                    <a:pt x="6893" y="8377"/>
                  </a:lnTo>
                  <a:lnTo>
                    <a:pt x="6843" y="8407"/>
                  </a:lnTo>
                  <a:lnTo>
                    <a:pt x="6811" y="8479"/>
                  </a:lnTo>
                  <a:lnTo>
                    <a:pt x="6732" y="8543"/>
                  </a:lnTo>
                  <a:lnTo>
                    <a:pt x="6622" y="8577"/>
                  </a:lnTo>
                  <a:lnTo>
                    <a:pt x="6560" y="8607"/>
                  </a:lnTo>
                  <a:cubicBezTo>
                    <a:pt x="6538" y="8615"/>
                    <a:pt x="6518" y="8624"/>
                    <a:pt x="6497" y="8634"/>
                  </a:cubicBezTo>
                  <a:cubicBezTo>
                    <a:pt x="6477" y="8645"/>
                    <a:pt x="6457" y="8656"/>
                    <a:pt x="6437" y="8668"/>
                  </a:cubicBezTo>
                  <a:cubicBezTo>
                    <a:pt x="6421" y="8678"/>
                    <a:pt x="6404" y="8689"/>
                    <a:pt x="6389" y="8701"/>
                  </a:cubicBezTo>
                  <a:cubicBezTo>
                    <a:pt x="6373" y="8713"/>
                    <a:pt x="6358" y="8725"/>
                    <a:pt x="6343" y="8738"/>
                  </a:cubicBezTo>
                  <a:lnTo>
                    <a:pt x="6252" y="8814"/>
                  </a:lnTo>
                  <a:lnTo>
                    <a:pt x="6163" y="8872"/>
                  </a:lnTo>
                  <a:lnTo>
                    <a:pt x="6140" y="8962"/>
                  </a:lnTo>
                  <a:lnTo>
                    <a:pt x="6123" y="9038"/>
                  </a:lnTo>
                  <a:lnTo>
                    <a:pt x="6102" y="9146"/>
                  </a:lnTo>
                  <a:lnTo>
                    <a:pt x="6091" y="9204"/>
                  </a:lnTo>
                  <a:lnTo>
                    <a:pt x="6068" y="9282"/>
                  </a:lnTo>
                  <a:lnTo>
                    <a:pt x="6015" y="9400"/>
                  </a:lnTo>
                  <a:lnTo>
                    <a:pt x="5920" y="9453"/>
                  </a:lnTo>
                  <a:lnTo>
                    <a:pt x="5871" y="9512"/>
                  </a:lnTo>
                  <a:lnTo>
                    <a:pt x="5756" y="9551"/>
                  </a:lnTo>
                  <a:cubicBezTo>
                    <a:pt x="5736" y="9563"/>
                    <a:pt x="5714" y="9572"/>
                    <a:pt x="5692" y="9581"/>
                  </a:cubicBezTo>
                  <a:cubicBezTo>
                    <a:pt x="5636" y="9602"/>
                    <a:pt x="5577" y="9613"/>
                    <a:pt x="5517" y="9615"/>
                  </a:cubicBezTo>
                  <a:cubicBezTo>
                    <a:pt x="5492" y="9626"/>
                    <a:pt x="5470" y="9642"/>
                    <a:pt x="5452" y="9662"/>
                  </a:cubicBezTo>
                  <a:cubicBezTo>
                    <a:pt x="5420" y="9697"/>
                    <a:pt x="5400" y="9741"/>
                    <a:pt x="5396" y="9789"/>
                  </a:cubicBezTo>
                  <a:lnTo>
                    <a:pt x="5328" y="9870"/>
                  </a:lnTo>
                  <a:cubicBezTo>
                    <a:pt x="5312" y="9894"/>
                    <a:pt x="5293" y="9915"/>
                    <a:pt x="5272" y="9935"/>
                  </a:cubicBezTo>
                  <a:cubicBezTo>
                    <a:pt x="5240" y="9965"/>
                    <a:pt x="5203" y="9989"/>
                    <a:pt x="5171" y="10020"/>
                  </a:cubicBezTo>
                  <a:cubicBezTo>
                    <a:pt x="5120" y="10071"/>
                    <a:pt x="5084" y="10135"/>
                    <a:pt x="5041" y="10193"/>
                  </a:cubicBezTo>
                  <a:cubicBezTo>
                    <a:pt x="5016" y="10226"/>
                    <a:pt x="4987" y="10257"/>
                    <a:pt x="4957" y="10285"/>
                  </a:cubicBezTo>
                  <a:lnTo>
                    <a:pt x="4810" y="10437"/>
                  </a:lnTo>
                  <a:lnTo>
                    <a:pt x="4726" y="10502"/>
                  </a:lnTo>
                  <a:lnTo>
                    <a:pt x="4670" y="10590"/>
                  </a:lnTo>
                  <a:lnTo>
                    <a:pt x="4573" y="10767"/>
                  </a:lnTo>
                  <a:lnTo>
                    <a:pt x="4511" y="10861"/>
                  </a:lnTo>
                  <a:lnTo>
                    <a:pt x="4472" y="10986"/>
                  </a:lnTo>
                  <a:lnTo>
                    <a:pt x="4534" y="11053"/>
                  </a:lnTo>
                  <a:lnTo>
                    <a:pt x="4584" y="11177"/>
                  </a:lnTo>
                  <a:lnTo>
                    <a:pt x="4590" y="11326"/>
                  </a:lnTo>
                  <a:lnTo>
                    <a:pt x="4579" y="11475"/>
                  </a:lnTo>
                  <a:lnTo>
                    <a:pt x="4523" y="11585"/>
                  </a:lnTo>
                  <a:lnTo>
                    <a:pt x="4485" y="11764"/>
                  </a:lnTo>
                  <a:lnTo>
                    <a:pt x="4451" y="11865"/>
                  </a:lnTo>
                  <a:lnTo>
                    <a:pt x="4408" y="11945"/>
                  </a:lnTo>
                  <a:cubicBezTo>
                    <a:pt x="4386" y="11975"/>
                    <a:pt x="4363" y="12004"/>
                    <a:pt x="4339" y="12032"/>
                  </a:cubicBezTo>
                  <a:cubicBezTo>
                    <a:pt x="4297" y="12082"/>
                    <a:pt x="4252" y="12130"/>
                    <a:pt x="4204" y="12174"/>
                  </a:cubicBezTo>
                  <a:lnTo>
                    <a:pt x="4204" y="12259"/>
                  </a:lnTo>
                  <a:lnTo>
                    <a:pt x="4303" y="12353"/>
                  </a:lnTo>
                  <a:lnTo>
                    <a:pt x="4343" y="12578"/>
                  </a:lnTo>
                  <a:lnTo>
                    <a:pt x="4366" y="12723"/>
                  </a:lnTo>
                  <a:lnTo>
                    <a:pt x="4391" y="12786"/>
                  </a:lnTo>
                  <a:lnTo>
                    <a:pt x="4430" y="12915"/>
                  </a:lnTo>
                  <a:lnTo>
                    <a:pt x="4460" y="13002"/>
                  </a:lnTo>
                  <a:lnTo>
                    <a:pt x="4506" y="13089"/>
                  </a:lnTo>
                  <a:lnTo>
                    <a:pt x="4538" y="13255"/>
                  </a:lnTo>
                  <a:lnTo>
                    <a:pt x="4593" y="13358"/>
                  </a:lnTo>
                  <a:lnTo>
                    <a:pt x="4649" y="13452"/>
                  </a:lnTo>
                  <a:lnTo>
                    <a:pt x="4755" y="13512"/>
                  </a:lnTo>
                  <a:lnTo>
                    <a:pt x="4765" y="13603"/>
                  </a:lnTo>
                  <a:lnTo>
                    <a:pt x="4754" y="13671"/>
                  </a:lnTo>
                  <a:lnTo>
                    <a:pt x="4774" y="13740"/>
                  </a:lnTo>
                  <a:lnTo>
                    <a:pt x="4811" y="13870"/>
                  </a:lnTo>
                  <a:lnTo>
                    <a:pt x="4828" y="13963"/>
                  </a:lnTo>
                  <a:lnTo>
                    <a:pt x="4918" y="14014"/>
                  </a:lnTo>
                  <a:lnTo>
                    <a:pt x="5065" y="14209"/>
                  </a:lnTo>
                  <a:lnTo>
                    <a:pt x="5105" y="14361"/>
                  </a:lnTo>
                  <a:lnTo>
                    <a:pt x="5178" y="14452"/>
                  </a:lnTo>
                  <a:lnTo>
                    <a:pt x="5271" y="14550"/>
                  </a:lnTo>
                  <a:lnTo>
                    <a:pt x="5411" y="14675"/>
                  </a:lnTo>
                  <a:lnTo>
                    <a:pt x="5541" y="14764"/>
                  </a:lnTo>
                  <a:lnTo>
                    <a:pt x="5710" y="14818"/>
                  </a:lnTo>
                  <a:lnTo>
                    <a:pt x="5814" y="14799"/>
                  </a:lnTo>
                  <a:lnTo>
                    <a:pt x="5956" y="14764"/>
                  </a:lnTo>
                  <a:lnTo>
                    <a:pt x="6176" y="14731"/>
                  </a:lnTo>
                  <a:cubicBezTo>
                    <a:pt x="6253" y="14717"/>
                    <a:pt x="6332" y="14721"/>
                    <a:pt x="6407" y="14742"/>
                  </a:cubicBezTo>
                  <a:cubicBezTo>
                    <a:pt x="6479" y="14763"/>
                    <a:pt x="6546" y="14799"/>
                    <a:pt x="6604" y="14847"/>
                  </a:cubicBezTo>
                  <a:lnTo>
                    <a:pt x="6745" y="14852"/>
                  </a:lnTo>
                  <a:lnTo>
                    <a:pt x="6895" y="14852"/>
                  </a:lnTo>
                  <a:lnTo>
                    <a:pt x="7064" y="14816"/>
                  </a:lnTo>
                  <a:lnTo>
                    <a:pt x="7264" y="14764"/>
                  </a:lnTo>
                  <a:lnTo>
                    <a:pt x="7405" y="14718"/>
                  </a:lnTo>
                  <a:cubicBezTo>
                    <a:pt x="7431" y="14719"/>
                    <a:pt x="7458" y="14719"/>
                    <a:pt x="7485" y="14717"/>
                  </a:cubicBezTo>
                  <a:cubicBezTo>
                    <a:pt x="7512" y="14716"/>
                    <a:pt x="7539" y="14713"/>
                    <a:pt x="7565" y="14708"/>
                  </a:cubicBezTo>
                  <a:cubicBezTo>
                    <a:pt x="7588" y="14705"/>
                    <a:pt x="7610" y="14700"/>
                    <a:pt x="7633" y="14694"/>
                  </a:cubicBezTo>
                  <a:cubicBezTo>
                    <a:pt x="7655" y="14689"/>
                    <a:pt x="7677" y="14682"/>
                    <a:pt x="7698" y="14675"/>
                  </a:cubicBezTo>
                  <a:cubicBezTo>
                    <a:pt x="7738" y="14679"/>
                    <a:pt x="7777" y="14678"/>
                    <a:pt x="7815" y="14675"/>
                  </a:cubicBezTo>
                  <a:cubicBezTo>
                    <a:pt x="7847" y="14671"/>
                    <a:pt x="7879" y="14666"/>
                    <a:pt x="7910" y="14675"/>
                  </a:cubicBezTo>
                  <a:cubicBezTo>
                    <a:pt x="7925" y="14679"/>
                    <a:pt x="7940" y="14688"/>
                    <a:pt x="7952" y="14699"/>
                  </a:cubicBezTo>
                  <a:cubicBezTo>
                    <a:pt x="7964" y="14710"/>
                    <a:pt x="7974" y="14724"/>
                    <a:pt x="7980" y="14739"/>
                  </a:cubicBezTo>
                  <a:lnTo>
                    <a:pt x="8137" y="14814"/>
                  </a:lnTo>
                  <a:lnTo>
                    <a:pt x="8184" y="14935"/>
                  </a:lnTo>
                  <a:lnTo>
                    <a:pt x="8234" y="15000"/>
                  </a:lnTo>
                  <a:lnTo>
                    <a:pt x="8300" y="15107"/>
                  </a:lnTo>
                  <a:lnTo>
                    <a:pt x="8459" y="15165"/>
                  </a:lnTo>
                  <a:lnTo>
                    <a:pt x="8658" y="15173"/>
                  </a:lnTo>
                  <a:lnTo>
                    <a:pt x="8768" y="15135"/>
                  </a:lnTo>
                  <a:lnTo>
                    <a:pt x="8881" y="15146"/>
                  </a:lnTo>
                  <a:lnTo>
                    <a:pt x="8995" y="15204"/>
                  </a:lnTo>
                  <a:lnTo>
                    <a:pt x="9104" y="15282"/>
                  </a:lnTo>
                  <a:lnTo>
                    <a:pt x="9113" y="15413"/>
                  </a:lnTo>
                  <a:lnTo>
                    <a:pt x="9090" y="15503"/>
                  </a:lnTo>
                  <a:lnTo>
                    <a:pt x="9084" y="15607"/>
                  </a:lnTo>
                  <a:lnTo>
                    <a:pt x="9067" y="15727"/>
                  </a:lnTo>
                  <a:lnTo>
                    <a:pt x="9013" y="15809"/>
                  </a:lnTo>
                  <a:lnTo>
                    <a:pt x="9053" y="15938"/>
                  </a:lnTo>
                  <a:lnTo>
                    <a:pt x="9065" y="16078"/>
                  </a:lnTo>
                  <a:lnTo>
                    <a:pt x="8992" y="16152"/>
                  </a:lnTo>
                  <a:lnTo>
                    <a:pt x="8947" y="16240"/>
                  </a:lnTo>
                  <a:lnTo>
                    <a:pt x="8976" y="16373"/>
                  </a:lnTo>
                  <a:lnTo>
                    <a:pt x="9131" y="16509"/>
                  </a:lnTo>
                  <a:lnTo>
                    <a:pt x="9203" y="16658"/>
                  </a:lnTo>
                  <a:lnTo>
                    <a:pt x="9281" y="16752"/>
                  </a:lnTo>
                  <a:lnTo>
                    <a:pt x="9372" y="16818"/>
                  </a:lnTo>
                  <a:lnTo>
                    <a:pt x="9453" y="16920"/>
                  </a:lnTo>
                  <a:cubicBezTo>
                    <a:pt x="9478" y="16955"/>
                    <a:pt x="9503" y="16990"/>
                    <a:pt x="9527" y="17026"/>
                  </a:cubicBezTo>
                  <a:cubicBezTo>
                    <a:pt x="9553" y="17065"/>
                    <a:pt x="9578" y="17105"/>
                    <a:pt x="9602" y="17145"/>
                  </a:cubicBezTo>
                  <a:cubicBezTo>
                    <a:pt x="9613" y="17185"/>
                    <a:pt x="9624" y="17224"/>
                    <a:pt x="9634" y="17263"/>
                  </a:cubicBezTo>
                  <a:cubicBezTo>
                    <a:pt x="9645" y="17305"/>
                    <a:pt x="9656" y="17347"/>
                    <a:pt x="9666" y="17390"/>
                  </a:cubicBezTo>
                  <a:lnTo>
                    <a:pt x="9727" y="17446"/>
                  </a:lnTo>
                  <a:lnTo>
                    <a:pt x="9769" y="17518"/>
                  </a:lnTo>
                  <a:lnTo>
                    <a:pt x="9855" y="17631"/>
                  </a:lnTo>
                  <a:lnTo>
                    <a:pt x="9923" y="17730"/>
                  </a:lnTo>
                  <a:lnTo>
                    <a:pt x="9855" y="17823"/>
                  </a:lnTo>
                  <a:lnTo>
                    <a:pt x="9883" y="17933"/>
                  </a:lnTo>
                  <a:lnTo>
                    <a:pt x="9967" y="18053"/>
                  </a:lnTo>
                  <a:lnTo>
                    <a:pt x="9984" y="18129"/>
                  </a:lnTo>
                  <a:lnTo>
                    <a:pt x="10012" y="18283"/>
                  </a:lnTo>
                  <a:lnTo>
                    <a:pt x="9989" y="18397"/>
                  </a:lnTo>
                  <a:lnTo>
                    <a:pt x="9928" y="18508"/>
                  </a:lnTo>
                  <a:lnTo>
                    <a:pt x="9882" y="18582"/>
                  </a:lnTo>
                  <a:lnTo>
                    <a:pt x="9805" y="18661"/>
                  </a:lnTo>
                  <a:lnTo>
                    <a:pt x="9762" y="18740"/>
                  </a:lnTo>
                  <a:lnTo>
                    <a:pt x="9729" y="18843"/>
                  </a:lnTo>
                  <a:lnTo>
                    <a:pt x="9723" y="18951"/>
                  </a:lnTo>
                  <a:lnTo>
                    <a:pt x="9706" y="19073"/>
                  </a:lnTo>
                  <a:lnTo>
                    <a:pt x="9675" y="19239"/>
                  </a:lnTo>
                  <a:lnTo>
                    <a:pt x="9686" y="19317"/>
                  </a:lnTo>
                  <a:lnTo>
                    <a:pt x="9730" y="19404"/>
                  </a:lnTo>
                  <a:lnTo>
                    <a:pt x="9741" y="19473"/>
                  </a:lnTo>
                  <a:lnTo>
                    <a:pt x="9804" y="19575"/>
                  </a:lnTo>
                  <a:lnTo>
                    <a:pt x="9882" y="19671"/>
                  </a:lnTo>
                  <a:lnTo>
                    <a:pt x="9948" y="19783"/>
                  </a:lnTo>
                  <a:lnTo>
                    <a:pt x="10014" y="19837"/>
                  </a:lnTo>
                  <a:lnTo>
                    <a:pt x="10087" y="19924"/>
                  </a:lnTo>
                  <a:lnTo>
                    <a:pt x="10134" y="20005"/>
                  </a:lnTo>
                  <a:lnTo>
                    <a:pt x="10183" y="20128"/>
                  </a:lnTo>
                  <a:lnTo>
                    <a:pt x="10234" y="20251"/>
                  </a:lnTo>
                  <a:lnTo>
                    <a:pt x="10265" y="20351"/>
                  </a:lnTo>
                  <a:lnTo>
                    <a:pt x="10340" y="20509"/>
                  </a:lnTo>
                  <a:lnTo>
                    <a:pt x="10395" y="20665"/>
                  </a:lnTo>
                  <a:lnTo>
                    <a:pt x="10452" y="20765"/>
                  </a:lnTo>
                  <a:lnTo>
                    <a:pt x="10508" y="20823"/>
                  </a:lnTo>
                  <a:lnTo>
                    <a:pt x="10586" y="20889"/>
                  </a:lnTo>
                  <a:cubicBezTo>
                    <a:pt x="10615" y="20907"/>
                    <a:pt x="10645" y="20925"/>
                    <a:pt x="10674" y="20942"/>
                  </a:cubicBezTo>
                  <a:cubicBezTo>
                    <a:pt x="10715" y="20967"/>
                    <a:pt x="10756" y="20991"/>
                    <a:pt x="10798" y="21015"/>
                  </a:cubicBezTo>
                  <a:lnTo>
                    <a:pt x="10881" y="21081"/>
                  </a:lnTo>
                  <a:lnTo>
                    <a:pt x="10965" y="21176"/>
                  </a:lnTo>
                  <a:lnTo>
                    <a:pt x="10975" y="21315"/>
                  </a:lnTo>
                  <a:lnTo>
                    <a:pt x="10912" y="21343"/>
                  </a:lnTo>
                  <a:lnTo>
                    <a:pt x="10908" y="21451"/>
                  </a:lnTo>
                  <a:lnTo>
                    <a:pt x="10975" y="21500"/>
                  </a:lnTo>
                  <a:lnTo>
                    <a:pt x="11095" y="21539"/>
                  </a:lnTo>
                  <a:lnTo>
                    <a:pt x="11268" y="21600"/>
                  </a:lnTo>
                  <a:lnTo>
                    <a:pt x="11338" y="21576"/>
                  </a:lnTo>
                  <a:lnTo>
                    <a:pt x="11418" y="21547"/>
                  </a:lnTo>
                  <a:lnTo>
                    <a:pt x="11644" y="21530"/>
                  </a:lnTo>
                  <a:lnTo>
                    <a:pt x="11850" y="21518"/>
                  </a:lnTo>
                  <a:lnTo>
                    <a:pt x="12007" y="21484"/>
                  </a:lnTo>
                  <a:lnTo>
                    <a:pt x="12158" y="21447"/>
                  </a:lnTo>
                  <a:lnTo>
                    <a:pt x="12317" y="21420"/>
                  </a:lnTo>
                  <a:cubicBezTo>
                    <a:pt x="12341" y="21414"/>
                    <a:pt x="12366" y="21407"/>
                    <a:pt x="12389" y="21398"/>
                  </a:cubicBezTo>
                  <a:cubicBezTo>
                    <a:pt x="12413" y="21389"/>
                    <a:pt x="12437" y="21380"/>
                    <a:pt x="12460" y="21369"/>
                  </a:cubicBezTo>
                  <a:cubicBezTo>
                    <a:pt x="12482" y="21358"/>
                    <a:pt x="12503" y="21346"/>
                    <a:pt x="12524" y="21334"/>
                  </a:cubicBezTo>
                  <a:cubicBezTo>
                    <a:pt x="12545" y="21321"/>
                    <a:pt x="12566" y="21308"/>
                    <a:pt x="12586" y="21293"/>
                  </a:cubicBezTo>
                  <a:lnTo>
                    <a:pt x="12693" y="21210"/>
                  </a:lnTo>
                  <a:lnTo>
                    <a:pt x="12876" y="21134"/>
                  </a:lnTo>
                  <a:lnTo>
                    <a:pt x="13001" y="21037"/>
                  </a:lnTo>
                  <a:lnTo>
                    <a:pt x="13089" y="20946"/>
                  </a:lnTo>
                  <a:lnTo>
                    <a:pt x="13162" y="20803"/>
                  </a:lnTo>
                  <a:lnTo>
                    <a:pt x="13268" y="20780"/>
                  </a:lnTo>
                  <a:lnTo>
                    <a:pt x="13358" y="20686"/>
                  </a:lnTo>
                  <a:lnTo>
                    <a:pt x="13402" y="20602"/>
                  </a:lnTo>
                  <a:lnTo>
                    <a:pt x="13492" y="20490"/>
                  </a:lnTo>
                  <a:lnTo>
                    <a:pt x="13492" y="20384"/>
                  </a:lnTo>
                  <a:lnTo>
                    <a:pt x="13493" y="20307"/>
                  </a:lnTo>
                  <a:lnTo>
                    <a:pt x="13566" y="20272"/>
                  </a:lnTo>
                  <a:lnTo>
                    <a:pt x="13835" y="20198"/>
                  </a:lnTo>
                  <a:lnTo>
                    <a:pt x="13971" y="20110"/>
                  </a:lnTo>
                  <a:lnTo>
                    <a:pt x="14042" y="19914"/>
                  </a:lnTo>
                  <a:lnTo>
                    <a:pt x="14032" y="19735"/>
                  </a:lnTo>
                  <a:lnTo>
                    <a:pt x="13916" y="19544"/>
                  </a:lnTo>
                  <a:lnTo>
                    <a:pt x="14042" y="19400"/>
                  </a:lnTo>
                  <a:cubicBezTo>
                    <a:pt x="14086" y="19352"/>
                    <a:pt x="14134" y="19310"/>
                    <a:pt x="14185" y="19271"/>
                  </a:cubicBezTo>
                  <a:cubicBezTo>
                    <a:pt x="14269" y="19209"/>
                    <a:pt x="14360" y="19159"/>
                    <a:pt x="14457" y="19124"/>
                  </a:cubicBezTo>
                  <a:lnTo>
                    <a:pt x="14535" y="19039"/>
                  </a:lnTo>
                  <a:lnTo>
                    <a:pt x="14708" y="18911"/>
                  </a:lnTo>
                  <a:lnTo>
                    <a:pt x="14776" y="18858"/>
                  </a:lnTo>
                  <a:cubicBezTo>
                    <a:pt x="14842" y="18844"/>
                    <a:pt x="14901" y="18805"/>
                    <a:pt x="14941" y="18747"/>
                  </a:cubicBezTo>
                  <a:cubicBezTo>
                    <a:pt x="14984" y="18684"/>
                    <a:pt x="15000" y="18605"/>
                    <a:pt x="14987" y="18530"/>
                  </a:cubicBezTo>
                  <a:cubicBezTo>
                    <a:pt x="14982" y="18458"/>
                    <a:pt x="14987" y="18386"/>
                    <a:pt x="15002" y="18316"/>
                  </a:cubicBezTo>
                  <a:cubicBezTo>
                    <a:pt x="15018" y="18244"/>
                    <a:pt x="15044" y="18174"/>
                    <a:pt x="15063" y="18103"/>
                  </a:cubicBezTo>
                  <a:cubicBezTo>
                    <a:pt x="15084" y="18027"/>
                    <a:pt x="15096" y="17948"/>
                    <a:pt x="15107" y="17869"/>
                  </a:cubicBezTo>
                  <a:cubicBezTo>
                    <a:pt x="15113" y="17819"/>
                    <a:pt x="15119" y="17769"/>
                    <a:pt x="15123" y="17718"/>
                  </a:cubicBezTo>
                  <a:lnTo>
                    <a:pt x="15059" y="17661"/>
                  </a:lnTo>
                  <a:lnTo>
                    <a:pt x="14999" y="17621"/>
                  </a:lnTo>
                  <a:lnTo>
                    <a:pt x="14962" y="17461"/>
                  </a:lnTo>
                  <a:lnTo>
                    <a:pt x="14937" y="17364"/>
                  </a:lnTo>
                  <a:lnTo>
                    <a:pt x="15026" y="17313"/>
                  </a:lnTo>
                  <a:cubicBezTo>
                    <a:pt x="15065" y="17294"/>
                    <a:pt x="15066" y="17236"/>
                    <a:pt x="15030" y="17214"/>
                  </a:cubicBezTo>
                  <a:cubicBezTo>
                    <a:pt x="15001" y="17196"/>
                    <a:pt x="14966" y="17217"/>
                    <a:pt x="14934" y="17209"/>
                  </a:cubicBezTo>
                  <a:cubicBezTo>
                    <a:pt x="14902" y="17200"/>
                    <a:pt x="14884" y="17174"/>
                    <a:pt x="14880" y="17145"/>
                  </a:cubicBezTo>
                  <a:cubicBezTo>
                    <a:pt x="14876" y="17115"/>
                    <a:pt x="14887" y="17084"/>
                    <a:pt x="14915" y="17065"/>
                  </a:cubicBezTo>
                  <a:lnTo>
                    <a:pt x="14973" y="16990"/>
                  </a:lnTo>
                  <a:lnTo>
                    <a:pt x="14994" y="16886"/>
                  </a:lnTo>
                  <a:lnTo>
                    <a:pt x="14929" y="16861"/>
                  </a:lnTo>
                  <a:lnTo>
                    <a:pt x="14916" y="16733"/>
                  </a:lnTo>
                  <a:lnTo>
                    <a:pt x="14987" y="16590"/>
                  </a:lnTo>
                  <a:cubicBezTo>
                    <a:pt x="15022" y="16553"/>
                    <a:pt x="15054" y="16513"/>
                    <a:pt x="15081" y="16470"/>
                  </a:cubicBezTo>
                  <a:cubicBezTo>
                    <a:pt x="15103" y="16434"/>
                    <a:pt x="15123" y="16396"/>
                    <a:pt x="15138" y="16356"/>
                  </a:cubicBezTo>
                  <a:lnTo>
                    <a:pt x="15190" y="16258"/>
                  </a:lnTo>
                  <a:lnTo>
                    <a:pt x="15276" y="16155"/>
                  </a:lnTo>
                  <a:lnTo>
                    <a:pt x="15364" y="16036"/>
                  </a:lnTo>
                  <a:lnTo>
                    <a:pt x="15438" y="15919"/>
                  </a:lnTo>
                  <a:lnTo>
                    <a:pt x="15540" y="15711"/>
                  </a:lnTo>
                  <a:lnTo>
                    <a:pt x="15648" y="15565"/>
                  </a:lnTo>
                  <a:lnTo>
                    <a:pt x="15741" y="15393"/>
                  </a:lnTo>
                  <a:lnTo>
                    <a:pt x="15814" y="15318"/>
                  </a:lnTo>
                  <a:lnTo>
                    <a:pt x="15914" y="15241"/>
                  </a:lnTo>
                  <a:lnTo>
                    <a:pt x="16004" y="15157"/>
                  </a:lnTo>
                  <a:lnTo>
                    <a:pt x="16076" y="15081"/>
                  </a:lnTo>
                  <a:cubicBezTo>
                    <a:pt x="16097" y="15047"/>
                    <a:pt x="16121" y="15015"/>
                    <a:pt x="16144" y="14983"/>
                  </a:cubicBezTo>
                  <a:cubicBezTo>
                    <a:pt x="16179" y="14935"/>
                    <a:pt x="16215" y="14891"/>
                    <a:pt x="16254" y="14847"/>
                  </a:cubicBezTo>
                  <a:lnTo>
                    <a:pt x="16306" y="14761"/>
                  </a:lnTo>
                  <a:lnTo>
                    <a:pt x="16369" y="14606"/>
                  </a:lnTo>
                  <a:lnTo>
                    <a:pt x="16476" y="14473"/>
                  </a:lnTo>
                  <a:lnTo>
                    <a:pt x="16547" y="14303"/>
                  </a:lnTo>
                  <a:lnTo>
                    <a:pt x="16577" y="14215"/>
                  </a:lnTo>
                  <a:lnTo>
                    <a:pt x="16600" y="14022"/>
                  </a:lnTo>
                  <a:lnTo>
                    <a:pt x="16656" y="13929"/>
                  </a:lnTo>
                  <a:lnTo>
                    <a:pt x="16692" y="13840"/>
                  </a:lnTo>
                  <a:lnTo>
                    <a:pt x="16713" y="13713"/>
                  </a:lnTo>
                  <a:lnTo>
                    <a:pt x="16764" y="13574"/>
                  </a:lnTo>
                  <a:lnTo>
                    <a:pt x="16781" y="13449"/>
                  </a:lnTo>
                  <a:lnTo>
                    <a:pt x="16798" y="13332"/>
                  </a:lnTo>
                  <a:lnTo>
                    <a:pt x="16845" y="13197"/>
                  </a:lnTo>
                  <a:lnTo>
                    <a:pt x="16909" y="13151"/>
                  </a:lnTo>
                  <a:lnTo>
                    <a:pt x="16909" y="13071"/>
                  </a:lnTo>
                  <a:lnTo>
                    <a:pt x="16858" y="13017"/>
                  </a:lnTo>
                  <a:lnTo>
                    <a:pt x="16858" y="12861"/>
                  </a:lnTo>
                  <a:lnTo>
                    <a:pt x="16796" y="12778"/>
                  </a:lnTo>
                  <a:lnTo>
                    <a:pt x="16688" y="12877"/>
                  </a:lnTo>
                  <a:lnTo>
                    <a:pt x="16582" y="12979"/>
                  </a:lnTo>
                  <a:lnTo>
                    <a:pt x="16383" y="13056"/>
                  </a:lnTo>
                  <a:lnTo>
                    <a:pt x="16219" y="13128"/>
                  </a:lnTo>
                  <a:lnTo>
                    <a:pt x="15978" y="13241"/>
                  </a:lnTo>
                  <a:lnTo>
                    <a:pt x="15810" y="13349"/>
                  </a:lnTo>
                  <a:lnTo>
                    <a:pt x="15733" y="13371"/>
                  </a:lnTo>
                  <a:lnTo>
                    <a:pt x="15650" y="13294"/>
                  </a:lnTo>
                  <a:lnTo>
                    <a:pt x="15546" y="13241"/>
                  </a:lnTo>
                  <a:cubicBezTo>
                    <a:pt x="15530" y="13239"/>
                    <a:pt x="15516" y="13232"/>
                    <a:pt x="15504" y="13221"/>
                  </a:cubicBezTo>
                  <a:cubicBezTo>
                    <a:pt x="15492" y="13211"/>
                    <a:pt x="15483" y="13197"/>
                    <a:pt x="15478" y="13181"/>
                  </a:cubicBezTo>
                  <a:cubicBezTo>
                    <a:pt x="15472" y="13159"/>
                    <a:pt x="15474" y="13137"/>
                    <a:pt x="15482" y="13119"/>
                  </a:cubicBezTo>
                  <a:cubicBezTo>
                    <a:pt x="15490" y="13100"/>
                    <a:pt x="15504" y="13084"/>
                    <a:pt x="15523" y="13075"/>
                  </a:cubicBezTo>
                  <a:lnTo>
                    <a:pt x="15436" y="12959"/>
                  </a:lnTo>
                  <a:lnTo>
                    <a:pt x="15352" y="12800"/>
                  </a:lnTo>
                  <a:lnTo>
                    <a:pt x="15251" y="12712"/>
                  </a:lnTo>
                  <a:lnTo>
                    <a:pt x="15144" y="12623"/>
                  </a:lnTo>
                  <a:lnTo>
                    <a:pt x="15033" y="12570"/>
                  </a:lnTo>
                  <a:lnTo>
                    <a:pt x="14929" y="12528"/>
                  </a:lnTo>
                  <a:lnTo>
                    <a:pt x="14812" y="12451"/>
                  </a:lnTo>
                  <a:lnTo>
                    <a:pt x="14722" y="12350"/>
                  </a:lnTo>
                  <a:cubicBezTo>
                    <a:pt x="14714" y="12325"/>
                    <a:pt x="14707" y="12299"/>
                    <a:pt x="14700" y="12274"/>
                  </a:cubicBezTo>
                  <a:cubicBezTo>
                    <a:pt x="14693" y="12248"/>
                    <a:pt x="14688" y="12222"/>
                    <a:pt x="14683" y="12196"/>
                  </a:cubicBezTo>
                  <a:cubicBezTo>
                    <a:pt x="14678" y="12166"/>
                    <a:pt x="14674" y="12135"/>
                    <a:pt x="14671" y="12104"/>
                  </a:cubicBezTo>
                  <a:cubicBezTo>
                    <a:pt x="14668" y="12074"/>
                    <a:pt x="14667" y="12043"/>
                    <a:pt x="14666" y="12012"/>
                  </a:cubicBezTo>
                  <a:lnTo>
                    <a:pt x="14549" y="11914"/>
                  </a:lnTo>
                  <a:cubicBezTo>
                    <a:pt x="14485" y="11915"/>
                    <a:pt x="14422" y="11893"/>
                    <a:pt x="14374" y="11850"/>
                  </a:cubicBezTo>
                  <a:cubicBezTo>
                    <a:pt x="14338" y="11818"/>
                    <a:pt x="14312" y="11777"/>
                    <a:pt x="14296" y="11730"/>
                  </a:cubicBezTo>
                  <a:cubicBezTo>
                    <a:pt x="14300" y="11703"/>
                    <a:pt x="14301" y="11676"/>
                    <a:pt x="14300" y="11649"/>
                  </a:cubicBezTo>
                  <a:cubicBezTo>
                    <a:pt x="14299" y="11622"/>
                    <a:pt x="14295" y="11594"/>
                    <a:pt x="14290" y="11568"/>
                  </a:cubicBezTo>
                  <a:cubicBezTo>
                    <a:pt x="14284" y="11537"/>
                    <a:pt x="14275" y="11508"/>
                    <a:pt x="14263" y="11479"/>
                  </a:cubicBezTo>
                  <a:cubicBezTo>
                    <a:pt x="14252" y="11451"/>
                    <a:pt x="14238" y="11423"/>
                    <a:pt x="14221" y="11398"/>
                  </a:cubicBezTo>
                  <a:lnTo>
                    <a:pt x="14189" y="11240"/>
                  </a:lnTo>
                  <a:lnTo>
                    <a:pt x="14121" y="11118"/>
                  </a:lnTo>
                  <a:lnTo>
                    <a:pt x="14010" y="11064"/>
                  </a:lnTo>
                  <a:lnTo>
                    <a:pt x="13943" y="10953"/>
                  </a:lnTo>
                  <a:lnTo>
                    <a:pt x="13925" y="10855"/>
                  </a:lnTo>
                  <a:lnTo>
                    <a:pt x="13911" y="10776"/>
                  </a:lnTo>
                  <a:lnTo>
                    <a:pt x="13793" y="10652"/>
                  </a:lnTo>
                  <a:lnTo>
                    <a:pt x="13759" y="10514"/>
                  </a:lnTo>
                  <a:cubicBezTo>
                    <a:pt x="13716" y="10489"/>
                    <a:pt x="13679" y="10453"/>
                    <a:pt x="13653" y="10409"/>
                  </a:cubicBezTo>
                  <a:cubicBezTo>
                    <a:pt x="13624" y="10360"/>
                    <a:pt x="13608" y="10306"/>
                    <a:pt x="13607" y="10249"/>
                  </a:cubicBezTo>
                  <a:lnTo>
                    <a:pt x="13528" y="10152"/>
                  </a:lnTo>
                  <a:lnTo>
                    <a:pt x="13524" y="10054"/>
                  </a:lnTo>
                  <a:lnTo>
                    <a:pt x="13608" y="10051"/>
                  </a:lnTo>
                  <a:lnTo>
                    <a:pt x="13721" y="10068"/>
                  </a:lnTo>
                  <a:lnTo>
                    <a:pt x="13749" y="10170"/>
                  </a:lnTo>
                  <a:cubicBezTo>
                    <a:pt x="13777" y="10199"/>
                    <a:pt x="13802" y="10231"/>
                    <a:pt x="13825" y="10266"/>
                  </a:cubicBezTo>
                  <a:cubicBezTo>
                    <a:pt x="13851" y="10304"/>
                    <a:pt x="13873" y="10345"/>
                    <a:pt x="13890" y="10389"/>
                  </a:cubicBezTo>
                  <a:lnTo>
                    <a:pt x="13950" y="10509"/>
                  </a:lnTo>
                  <a:lnTo>
                    <a:pt x="14017" y="10526"/>
                  </a:lnTo>
                  <a:lnTo>
                    <a:pt x="14107" y="10551"/>
                  </a:lnTo>
                  <a:lnTo>
                    <a:pt x="14096" y="10613"/>
                  </a:lnTo>
                  <a:lnTo>
                    <a:pt x="14143" y="10703"/>
                  </a:lnTo>
                  <a:lnTo>
                    <a:pt x="14229" y="10767"/>
                  </a:lnTo>
                  <a:lnTo>
                    <a:pt x="14318" y="10842"/>
                  </a:lnTo>
                  <a:lnTo>
                    <a:pt x="14379" y="10907"/>
                  </a:lnTo>
                  <a:lnTo>
                    <a:pt x="14453" y="11028"/>
                  </a:lnTo>
                  <a:lnTo>
                    <a:pt x="14489" y="11099"/>
                  </a:lnTo>
                  <a:lnTo>
                    <a:pt x="14462" y="11196"/>
                  </a:lnTo>
                  <a:cubicBezTo>
                    <a:pt x="14492" y="11236"/>
                    <a:pt x="14516" y="11280"/>
                    <a:pt x="14534" y="11327"/>
                  </a:cubicBezTo>
                  <a:cubicBezTo>
                    <a:pt x="14547" y="11365"/>
                    <a:pt x="14557" y="11405"/>
                    <a:pt x="14562" y="11445"/>
                  </a:cubicBezTo>
                  <a:lnTo>
                    <a:pt x="14604" y="11530"/>
                  </a:lnTo>
                  <a:lnTo>
                    <a:pt x="14855" y="11581"/>
                  </a:lnTo>
                  <a:cubicBezTo>
                    <a:pt x="14867" y="11590"/>
                    <a:pt x="14878" y="11599"/>
                    <a:pt x="14888" y="11609"/>
                  </a:cubicBezTo>
                  <a:cubicBezTo>
                    <a:pt x="14898" y="11619"/>
                    <a:pt x="14908" y="11629"/>
                    <a:pt x="14916" y="11641"/>
                  </a:cubicBezTo>
                  <a:cubicBezTo>
                    <a:pt x="14938" y="11669"/>
                    <a:pt x="14955" y="11702"/>
                    <a:pt x="14964" y="11737"/>
                  </a:cubicBezTo>
                  <a:cubicBezTo>
                    <a:pt x="14974" y="11773"/>
                    <a:pt x="14977" y="11810"/>
                    <a:pt x="14974" y="11846"/>
                  </a:cubicBezTo>
                  <a:lnTo>
                    <a:pt x="15057" y="11943"/>
                  </a:lnTo>
                  <a:lnTo>
                    <a:pt x="15187" y="12016"/>
                  </a:lnTo>
                  <a:lnTo>
                    <a:pt x="15186" y="12107"/>
                  </a:lnTo>
                  <a:lnTo>
                    <a:pt x="15232" y="12169"/>
                  </a:lnTo>
                  <a:cubicBezTo>
                    <a:pt x="15245" y="12177"/>
                    <a:pt x="15257" y="12187"/>
                    <a:pt x="15267" y="12199"/>
                  </a:cubicBezTo>
                  <a:cubicBezTo>
                    <a:pt x="15278" y="12211"/>
                    <a:pt x="15286" y="12225"/>
                    <a:pt x="15292" y="12241"/>
                  </a:cubicBezTo>
                  <a:cubicBezTo>
                    <a:pt x="15299" y="12259"/>
                    <a:pt x="15303" y="12278"/>
                    <a:pt x="15303" y="12298"/>
                  </a:cubicBezTo>
                  <a:cubicBezTo>
                    <a:pt x="15303" y="12318"/>
                    <a:pt x="15299" y="12337"/>
                    <a:pt x="15292" y="12355"/>
                  </a:cubicBezTo>
                  <a:lnTo>
                    <a:pt x="15287" y="12521"/>
                  </a:lnTo>
                  <a:lnTo>
                    <a:pt x="15369" y="12598"/>
                  </a:lnTo>
                  <a:lnTo>
                    <a:pt x="15436" y="12767"/>
                  </a:lnTo>
                  <a:lnTo>
                    <a:pt x="15475" y="12843"/>
                  </a:lnTo>
                  <a:lnTo>
                    <a:pt x="15574" y="12958"/>
                  </a:lnTo>
                  <a:lnTo>
                    <a:pt x="15666" y="13008"/>
                  </a:lnTo>
                  <a:lnTo>
                    <a:pt x="15777" y="12947"/>
                  </a:lnTo>
                  <a:cubicBezTo>
                    <a:pt x="15796" y="12932"/>
                    <a:pt x="15814" y="12916"/>
                    <a:pt x="15833" y="12900"/>
                  </a:cubicBezTo>
                  <a:cubicBezTo>
                    <a:pt x="15851" y="12883"/>
                    <a:pt x="15868" y="12866"/>
                    <a:pt x="15885" y="12848"/>
                  </a:cubicBezTo>
                  <a:cubicBezTo>
                    <a:pt x="15898" y="12835"/>
                    <a:pt x="15911" y="12821"/>
                    <a:pt x="15924" y="12806"/>
                  </a:cubicBezTo>
                  <a:cubicBezTo>
                    <a:pt x="15936" y="12792"/>
                    <a:pt x="15949" y="12777"/>
                    <a:pt x="15960" y="12762"/>
                  </a:cubicBezTo>
                  <a:lnTo>
                    <a:pt x="16083" y="12702"/>
                  </a:lnTo>
                  <a:lnTo>
                    <a:pt x="16221" y="12617"/>
                  </a:lnTo>
                  <a:lnTo>
                    <a:pt x="16286" y="12596"/>
                  </a:lnTo>
                  <a:lnTo>
                    <a:pt x="16384" y="12555"/>
                  </a:lnTo>
                  <a:lnTo>
                    <a:pt x="16445" y="12442"/>
                  </a:lnTo>
                  <a:lnTo>
                    <a:pt x="16501" y="12366"/>
                  </a:lnTo>
                  <a:cubicBezTo>
                    <a:pt x="16539" y="12342"/>
                    <a:pt x="16577" y="12320"/>
                    <a:pt x="16615" y="12299"/>
                  </a:cubicBezTo>
                  <a:cubicBezTo>
                    <a:pt x="16649" y="12280"/>
                    <a:pt x="16684" y="12261"/>
                    <a:pt x="16716" y="12238"/>
                  </a:cubicBezTo>
                  <a:cubicBezTo>
                    <a:pt x="16757" y="12207"/>
                    <a:pt x="16793" y="12169"/>
                    <a:pt x="16819" y="12123"/>
                  </a:cubicBezTo>
                  <a:lnTo>
                    <a:pt x="16883" y="11978"/>
                  </a:lnTo>
                  <a:cubicBezTo>
                    <a:pt x="16885" y="11944"/>
                    <a:pt x="16896" y="11910"/>
                    <a:pt x="16912" y="11880"/>
                  </a:cubicBezTo>
                  <a:cubicBezTo>
                    <a:pt x="16942" y="11827"/>
                    <a:pt x="16991" y="11789"/>
                    <a:pt x="17048" y="11774"/>
                  </a:cubicBezTo>
                  <a:lnTo>
                    <a:pt x="17193" y="11703"/>
                  </a:lnTo>
                  <a:lnTo>
                    <a:pt x="17233" y="11650"/>
                  </a:lnTo>
                  <a:lnTo>
                    <a:pt x="17346" y="11527"/>
                  </a:lnTo>
                  <a:lnTo>
                    <a:pt x="17425" y="11330"/>
                  </a:lnTo>
                  <a:lnTo>
                    <a:pt x="17454" y="11269"/>
                  </a:lnTo>
                  <a:lnTo>
                    <a:pt x="17526" y="11161"/>
                  </a:lnTo>
                  <a:lnTo>
                    <a:pt x="17577" y="11096"/>
                  </a:lnTo>
                  <a:lnTo>
                    <a:pt x="17577" y="10968"/>
                  </a:lnTo>
                  <a:cubicBezTo>
                    <a:pt x="17569" y="10944"/>
                    <a:pt x="17565" y="10918"/>
                    <a:pt x="17565" y="10891"/>
                  </a:cubicBezTo>
                  <a:cubicBezTo>
                    <a:pt x="17566" y="10865"/>
                    <a:pt x="17572" y="10839"/>
                    <a:pt x="17582" y="10815"/>
                  </a:cubicBezTo>
                  <a:cubicBezTo>
                    <a:pt x="17595" y="10789"/>
                    <a:pt x="17613" y="10765"/>
                    <a:pt x="17635" y="10747"/>
                  </a:cubicBezTo>
                  <a:cubicBezTo>
                    <a:pt x="17657" y="10728"/>
                    <a:pt x="17683" y="10715"/>
                    <a:pt x="17710" y="10709"/>
                  </a:cubicBezTo>
                  <a:cubicBezTo>
                    <a:pt x="17715" y="10670"/>
                    <a:pt x="17718" y="10631"/>
                    <a:pt x="17720" y="10593"/>
                  </a:cubicBezTo>
                  <a:cubicBezTo>
                    <a:pt x="17724" y="10523"/>
                    <a:pt x="17724" y="10453"/>
                    <a:pt x="17720" y="10383"/>
                  </a:cubicBezTo>
                  <a:cubicBezTo>
                    <a:pt x="17715" y="10359"/>
                    <a:pt x="17708" y="10335"/>
                    <a:pt x="17701" y="10311"/>
                  </a:cubicBezTo>
                  <a:cubicBezTo>
                    <a:pt x="17693" y="10287"/>
                    <a:pt x="17685" y="10263"/>
                    <a:pt x="17676" y="10240"/>
                  </a:cubicBezTo>
                  <a:cubicBezTo>
                    <a:pt x="17667" y="10218"/>
                    <a:pt x="17658" y="10196"/>
                    <a:pt x="17647" y="10174"/>
                  </a:cubicBezTo>
                  <a:cubicBezTo>
                    <a:pt x="17637" y="10153"/>
                    <a:pt x="17626" y="10132"/>
                    <a:pt x="17614" y="10110"/>
                  </a:cubicBezTo>
                  <a:lnTo>
                    <a:pt x="17514" y="10051"/>
                  </a:lnTo>
                  <a:lnTo>
                    <a:pt x="17376" y="10028"/>
                  </a:lnTo>
                  <a:lnTo>
                    <a:pt x="17237" y="10004"/>
                  </a:lnTo>
                  <a:lnTo>
                    <a:pt x="17128" y="9952"/>
                  </a:lnTo>
                  <a:cubicBezTo>
                    <a:pt x="17104" y="9917"/>
                    <a:pt x="17086" y="9876"/>
                    <a:pt x="17077" y="9833"/>
                  </a:cubicBezTo>
                  <a:cubicBezTo>
                    <a:pt x="17067" y="9787"/>
                    <a:pt x="17067" y="9738"/>
                    <a:pt x="17077" y="9692"/>
                  </a:cubicBezTo>
                  <a:lnTo>
                    <a:pt x="17003" y="9621"/>
                  </a:lnTo>
                  <a:lnTo>
                    <a:pt x="16969" y="9701"/>
                  </a:lnTo>
                  <a:lnTo>
                    <a:pt x="16902" y="9844"/>
                  </a:lnTo>
                  <a:lnTo>
                    <a:pt x="16887" y="9946"/>
                  </a:lnTo>
                  <a:lnTo>
                    <a:pt x="16809" y="10070"/>
                  </a:lnTo>
                  <a:lnTo>
                    <a:pt x="16761" y="10147"/>
                  </a:lnTo>
                  <a:lnTo>
                    <a:pt x="16635" y="10171"/>
                  </a:lnTo>
                  <a:lnTo>
                    <a:pt x="16495" y="10248"/>
                  </a:lnTo>
                  <a:lnTo>
                    <a:pt x="16436" y="10205"/>
                  </a:lnTo>
                  <a:lnTo>
                    <a:pt x="16436" y="10028"/>
                  </a:lnTo>
                  <a:lnTo>
                    <a:pt x="16387" y="9897"/>
                  </a:lnTo>
                  <a:cubicBezTo>
                    <a:pt x="16378" y="9878"/>
                    <a:pt x="16362" y="9864"/>
                    <a:pt x="16345" y="9858"/>
                  </a:cubicBezTo>
                  <a:cubicBezTo>
                    <a:pt x="16327" y="9852"/>
                    <a:pt x="16308" y="9854"/>
                    <a:pt x="16291" y="9866"/>
                  </a:cubicBezTo>
                  <a:cubicBezTo>
                    <a:pt x="16275" y="9876"/>
                    <a:pt x="16264" y="9892"/>
                    <a:pt x="16260" y="9910"/>
                  </a:cubicBezTo>
                  <a:cubicBezTo>
                    <a:pt x="16256" y="9928"/>
                    <a:pt x="16258" y="9948"/>
                    <a:pt x="16268" y="9964"/>
                  </a:cubicBezTo>
                  <a:lnTo>
                    <a:pt x="16134" y="9893"/>
                  </a:lnTo>
                  <a:lnTo>
                    <a:pt x="16074" y="9817"/>
                  </a:lnTo>
                  <a:lnTo>
                    <a:pt x="16020" y="9759"/>
                  </a:lnTo>
                  <a:lnTo>
                    <a:pt x="15932" y="9669"/>
                  </a:lnTo>
                  <a:cubicBezTo>
                    <a:pt x="15919" y="9651"/>
                    <a:pt x="15905" y="9634"/>
                    <a:pt x="15890" y="9617"/>
                  </a:cubicBezTo>
                  <a:cubicBezTo>
                    <a:pt x="15876" y="9600"/>
                    <a:pt x="15862" y="9584"/>
                    <a:pt x="15848" y="9567"/>
                  </a:cubicBezTo>
                  <a:cubicBezTo>
                    <a:pt x="15826" y="9542"/>
                    <a:pt x="15803" y="9516"/>
                    <a:pt x="15780" y="9491"/>
                  </a:cubicBezTo>
                  <a:cubicBezTo>
                    <a:pt x="15757" y="9466"/>
                    <a:pt x="15734" y="9442"/>
                    <a:pt x="15710" y="9417"/>
                  </a:cubicBezTo>
                  <a:lnTo>
                    <a:pt x="15732" y="9347"/>
                  </a:lnTo>
                  <a:lnTo>
                    <a:pt x="15798" y="9240"/>
                  </a:lnTo>
                  <a:cubicBezTo>
                    <a:pt x="15808" y="9232"/>
                    <a:pt x="15818" y="9224"/>
                    <a:pt x="15829" y="9217"/>
                  </a:cubicBezTo>
                  <a:cubicBezTo>
                    <a:pt x="15840" y="9210"/>
                    <a:pt x="15851" y="9204"/>
                    <a:pt x="15863" y="9200"/>
                  </a:cubicBezTo>
                  <a:cubicBezTo>
                    <a:pt x="15883" y="9192"/>
                    <a:pt x="15903" y="9187"/>
                    <a:pt x="15924" y="9186"/>
                  </a:cubicBezTo>
                  <a:cubicBezTo>
                    <a:pt x="15945" y="9184"/>
                    <a:pt x="15966" y="9186"/>
                    <a:pt x="15986" y="9192"/>
                  </a:cubicBezTo>
                  <a:lnTo>
                    <a:pt x="16079" y="9358"/>
                  </a:lnTo>
                  <a:lnTo>
                    <a:pt x="16138" y="9511"/>
                  </a:lnTo>
                  <a:cubicBezTo>
                    <a:pt x="16148" y="9532"/>
                    <a:pt x="16164" y="9550"/>
                    <a:pt x="16185" y="9562"/>
                  </a:cubicBezTo>
                  <a:cubicBezTo>
                    <a:pt x="16205" y="9573"/>
                    <a:pt x="16227" y="9578"/>
                    <a:pt x="16250" y="9575"/>
                  </a:cubicBezTo>
                  <a:cubicBezTo>
                    <a:pt x="16295" y="9571"/>
                    <a:pt x="16336" y="9537"/>
                    <a:pt x="16380" y="9548"/>
                  </a:cubicBezTo>
                  <a:cubicBezTo>
                    <a:pt x="16433" y="9561"/>
                    <a:pt x="16452" y="9625"/>
                    <a:pt x="16490" y="9663"/>
                  </a:cubicBezTo>
                  <a:cubicBezTo>
                    <a:pt x="16524" y="9697"/>
                    <a:pt x="16573" y="9710"/>
                    <a:pt x="16618" y="9697"/>
                  </a:cubicBezTo>
                  <a:cubicBezTo>
                    <a:pt x="16632" y="9707"/>
                    <a:pt x="16648" y="9714"/>
                    <a:pt x="16665" y="9719"/>
                  </a:cubicBezTo>
                  <a:cubicBezTo>
                    <a:pt x="16682" y="9724"/>
                    <a:pt x="16700" y="9727"/>
                    <a:pt x="16717" y="9727"/>
                  </a:cubicBezTo>
                  <a:cubicBezTo>
                    <a:pt x="16744" y="9726"/>
                    <a:pt x="16770" y="9720"/>
                    <a:pt x="16794" y="9708"/>
                  </a:cubicBezTo>
                  <a:cubicBezTo>
                    <a:pt x="16818" y="9697"/>
                    <a:pt x="16840" y="9680"/>
                    <a:pt x="16858" y="9659"/>
                  </a:cubicBezTo>
                  <a:lnTo>
                    <a:pt x="17017" y="9523"/>
                  </a:lnTo>
                  <a:lnTo>
                    <a:pt x="17105" y="9612"/>
                  </a:lnTo>
                  <a:lnTo>
                    <a:pt x="17138" y="9721"/>
                  </a:lnTo>
                  <a:cubicBezTo>
                    <a:pt x="17150" y="9743"/>
                    <a:pt x="17168" y="9762"/>
                    <a:pt x="17189" y="9774"/>
                  </a:cubicBezTo>
                  <a:cubicBezTo>
                    <a:pt x="17238" y="9802"/>
                    <a:pt x="17296" y="9797"/>
                    <a:pt x="17339" y="9762"/>
                  </a:cubicBezTo>
                  <a:lnTo>
                    <a:pt x="17591" y="9720"/>
                  </a:lnTo>
                  <a:lnTo>
                    <a:pt x="17842" y="9720"/>
                  </a:lnTo>
                  <a:lnTo>
                    <a:pt x="17956" y="9628"/>
                  </a:lnTo>
                  <a:lnTo>
                    <a:pt x="18030" y="9548"/>
                  </a:lnTo>
                  <a:lnTo>
                    <a:pt x="18110" y="9500"/>
                  </a:lnTo>
                  <a:lnTo>
                    <a:pt x="18227" y="9474"/>
                  </a:lnTo>
                  <a:lnTo>
                    <a:pt x="18286" y="9416"/>
                  </a:lnTo>
                  <a:lnTo>
                    <a:pt x="18352" y="9357"/>
                  </a:lnTo>
                  <a:lnTo>
                    <a:pt x="18512" y="9513"/>
                  </a:lnTo>
                  <a:lnTo>
                    <a:pt x="18556" y="9620"/>
                  </a:lnTo>
                  <a:lnTo>
                    <a:pt x="18665" y="9625"/>
                  </a:lnTo>
                  <a:lnTo>
                    <a:pt x="18737" y="9685"/>
                  </a:lnTo>
                  <a:lnTo>
                    <a:pt x="18800" y="9729"/>
                  </a:lnTo>
                  <a:lnTo>
                    <a:pt x="18828" y="9801"/>
                  </a:lnTo>
                  <a:lnTo>
                    <a:pt x="18896" y="9929"/>
                  </a:lnTo>
                  <a:cubicBezTo>
                    <a:pt x="18911" y="9943"/>
                    <a:pt x="18928" y="9956"/>
                    <a:pt x="18945" y="9967"/>
                  </a:cubicBezTo>
                  <a:cubicBezTo>
                    <a:pt x="18963" y="9979"/>
                    <a:pt x="18981" y="9989"/>
                    <a:pt x="18999" y="9998"/>
                  </a:cubicBezTo>
                  <a:cubicBezTo>
                    <a:pt x="19018" y="10008"/>
                    <a:pt x="19037" y="10017"/>
                    <a:pt x="19056" y="10024"/>
                  </a:cubicBezTo>
                  <a:cubicBezTo>
                    <a:pt x="19076" y="10031"/>
                    <a:pt x="19096" y="10036"/>
                    <a:pt x="19116" y="10040"/>
                  </a:cubicBezTo>
                  <a:lnTo>
                    <a:pt x="19197" y="10024"/>
                  </a:lnTo>
                  <a:lnTo>
                    <a:pt x="19240" y="9889"/>
                  </a:lnTo>
                  <a:lnTo>
                    <a:pt x="19302" y="9855"/>
                  </a:lnTo>
                  <a:lnTo>
                    <a:pt x="19393" y="9942"/>
                  </a:lnTo>
                  <a:lnTo>
                    <a:pt x="19480" y="10043"/>
                  </a:lnTo>
                  <a:lnTo>
                    <a:pt x="19584" y="10145"/>
                  </a:lnTo>
                  <a:lnTo>
                    <a:pt x="19531" y="10310"/>
                  </a:lnTo>
                  <a:cubicBezTo>
                    <a:pt x="19538" y="10340"/>
                    <a:pt x="19548" y="10369"/>
                    <a:pt x="19559" y="10397"/>
                  </a:cubicBezTo>
                  <a:cubicBezTo>
                    <a:pt x="19571" y="10425"/>
                    <a:pt x="19585" y="10452"/>
                    <a:pt x="19600" y="10478"/>
                  </a:cubicBezTo>
                  <a:cubicBezTo>
                    <a:pt x="19613" y="10499"/>
                    <a:pt x="19627" y="10519"/>
                    <a:pt x="19641" y="10539"/>
                  </a:cubicBezTo>
                  <a:cubicBezTo>
                    <a:pt x="19656" y="10558"/>
                    <a:pt x="19672" y="10577"/>
                    <a:pt x="19689" y="10594"/>
                  </a:cubicBezTo>
                  <a:lnTo>
                    <a:pt x="19696" y="10724"/>
                  </a:lnTo>
                  <a:lnTo>
                    <a:pt x="19696" y="10791"/>
                  </a:lnTo>
                  <a:cubicBezTo>
                    <a:pt x="19714" y="10847"/>
                    <a:pt x="19741" y="10901"/>
                    <a:pt x="19776" y="10948"/>
                  </a:cubicBezTo>
                  <a:cubicBezTo>
                    <a:pt x="19808" y="10990"/>
                    <a:pt x="19847" y="11026"/>
                    <a:pt x="19889" y="11056"/>
                  </a:cubicBezTo>
                  <a:lnTo>
                    <a:pt x="19873" y="11179"/>
                  </a:lnTo>
                  <a:lnTo>
                    <a:pt x="19906" y="11242"/>
                  </a:lnTo>
                  <a:lnTo>
                    <a:pt x="19989" y="11358"/>
                  </a:lnTo>
                  <a:lnTo>
                    <a:pt x="20067" y="11450"/>
                  </a:lnTo>
                  <a:lnTo>
                    <a:pt x="20025" y="11552"/>
                  </a:lnTo>
                  <a:lnTo>
                    <a:pt x="20074" y="11718"/>
                  </a:lnTo>
                  <a:lnTo>
                    <a:pt x="20200" y="11812"/>
                  </a:lnTo>
                  <a:lnTo>
                    <a:pt x="20234" y="11933"/>
                  </a:lnTo>
                  <a:lnTo>
                    <a:pt x="20287" y="12028"/>
                  </a:lnTo>
                  <a:lnTo>
                    <a:pt x="20337" y="12120"/>
                  </a:lnTo>
                  <a:lnTo>
                    <a:pt x="20400" y="12120"/>
                  </a:lnTo>
                  <a:cubicBezTo>
                    <a:pt x="20441" y="12085"/>
                    <a:pt x="20472" y="12038"/>
                    <a:pt x="20490" y="11985"/>
                  </a:cubicBezTo>
                  <a:cubicBezTo>
                    <a:pt x="20503" y="11944"/>
                    <a:pt x="20509" y="11901"/>
                    <a:pt x="20505" y="11857"/>
                  </a:cubicBezTo>
                  <a:lnTo>
                    <a:pt x="20569" y="11765"/>
                  </a:lnTo>
                  <a:lnTo>
                    <a:pt x="20603" y="11846"/>
                  </a:lnTo>
                  <a:lnTo>
                    <a:pt x="20603" y="12005"/>
                  </a:lnTo>
                  <a:lnTo>
                    <a:pt x="20592" y="12097"/>
                  </a:lnTo>
                  <a:lnTo>
                    <a:pt x="20596" y="12301"/>
                  </a:lnTo>
                  <a:lnTo>
                    <a:pt x="20638" y="12376"/>
                  </a:lnTo>
                  <a:cubicBezTo>
                    <a:pt x="20648" y="12389"/>
                    <a:pt x="20661" y="12399"/>
                    <a:pt x="20676" y="12404"/>
                  </a:cubicBezTo>
                  <a:cubicBezTo>
                    <a:pt x="20691" y="12409"/>
                    <a:pt x="20708" y="12410"/>
                    <a:pt x="20723" y="12405"/>
                  </a:cubicBezTo>
                  <a:cubicBezTo>
                    <a:pt x="20753" y="12397"/>
                    <a:pt x="20774" y="12376"/>
                    <a:pt x="20784" y="12349"/>
                  </a:cubicBezTo>
                  <a:cubicBezTo>
                    <a:pt x="20794" y="12322"/>
                    <a:pt x="20793" y="12291"/>
                    <a:pt x="20777" y="12263"/>
                  </a:cubicBezTo>
                  <a:lnTo>
                    <a:pt x="20797" y="12085"/>
                  </a:lnTo>
                  <a:lnTo>
                    <a:pt x="20791" y="11935"/>
                  </a:lnTo>
                  <a:lnTo>
                    <a:pt x="20767" y="11796"/>
                  </a:lnTo>
                  <a:lnTo>
                    <a:pt x="20730" y="11621"/>
                  </a:lnTo>
                  <a:lnTo>
                    <a:pt x="20652" y="11537"/>
                  </a:lnTo>
                  <a:lnTo>
                    <a:pt x="20593" y="11542"/>
                  </a:lnTo>
                  <a:lnTo>
                    <a:pt x="20542" y="11687"/>
                  </a:lnTo>
                  <a:lnTo>
                    <a:pt x="20514" y="11440"/>
                  </a:lnTo>
                  <a:lnTo>
                    <a:pt x="20525" y="11298"/>
                  </a:lnTo>
                  <a:lnTo>
                    <a:pt x="20525" y="11217"/>
                  </a:lnTo>
                  <a:lnTo>
                    <a:pt x="20537" y="11140"/>
                  </a:lnTo>
                  <a:lnTo>
                    <a:pt x="20537" y="11015"/>
                  </a:lnTo>
                  <a:lnTo>
                    <a:pt x="20542" y="10903"/>
                  </a:lnTo>
                  <a:lnTo>
                    <a:pt x="20458" y="10749"/>
                  </a:lnTo>
                  <a:lnTo>
                    <a:pt x="20453" y="10655"/>
                  </a:lnTo>
                  <a:cubicBezTo>
                    <a:pt x="20456" y="10617"/>
                    <a:pt x="20456" y="10579"/>
                    <a:pt x="20453" y="10541"/>
                  </a:cubicBezTo>
                  <a:cubicBezTo>
                    <a:pt x="20448" y="10482"/>
                    <a:pt x="20435" y="10423"/>
                    <a:pt x="20436" y="10363"/>
                  </a:cubicBezTo>
                  <a:cubicBezTo>
                    <a:pt x="20437" y="10323"/>
                    <a:pt x="20444" y="10284"/>
                    <a:pt x="20458" y="10247"/>
                  </a:cubicBezTo>
                  <a:lnTo>
                    <a:pt x="20469" y="10156"/>
                  </a:lnTo>
                  <a:lnTo>
                    <a:pt x="20474" y="10089"/>
                  </a:lnTo>
                  <a:lnTo>
                    <a:pt x="20520" y="9890"/>
                  </a:lnTo>
                  <a:lnTo>
                    <a:pt x="20565" y="9689"/>
                  </a:lnTo>
                  <a:lnTo>
                    <a:pt x="20542" y="9578"/>
                  </a:lnTo>
                  <a:lnTo>
                    <a:pt x="20542" y="9444"/>
                  </a:lnTo>
                  <a:lnTo>
                    <a:pt x="20584" y="9280"/>
                  </a:lnTo>
                  <a:lnTo>
                    <a:pt x="20630" y="9138"/>
                  </a:lnTo>
                  <a:lnTo>
                    <a:pt x="20564" y="9022"/>
                  </a:lnTo>
                  <a:lnTo>
                    <a:pt x="20657" y="8700"/>
                  </a:lnTo>
                  <a:cubicBezTo>
                    <a:pt x="20665" y="8669"/>
                    <a:pt x="20672" y="8638"/>
                    <a:pt x="20680" y="8606"/>
                  </a:cubicBezTo>
                  <a:cubicBezTo>
                    <a:pt x="20687" y="8575"/>
                    <a:pt x="20694" y="8544"/>
                    <a:pt x="20702" y="8512"/>
                  </a:cubicBezTo>
                  <a:cubicBezTo>
                    <a:pt x="20709" y="8481"/>
                    <a:pt x="20716" y="8450"/>
                    <a:pt x="20724" y="8419"/>
                  </a:cubicBezTo>
                  <a:cubicBezTo>
                    <a:pt x="20731" y="8387"/>
                    <a:pt x="20738" y="8356"/>
                    <a:pt x="20745" y="8325"/>
                  </a:cubicBezTo>
                  <a:lnTo>
                    <a:pt x="20986" y="8776"/>
                  </a:lnTo>
                  <a:lnTo>
                    <a:pt x="21213" y="9131"/>
                  </a:lnTo>
                  <a:lnTo>
                    <a:pt x="21600" y="9722"/>
                  </a:lnTo>
                  <a:cubicBezTo>
                    <a:pt x="21501" y="8992"/>
                    <a:pt x="21336" y="8276"/>
                    <a:pt x="21109" y="7584"/>
                  </a:cubicBezTo>
                  <a:cubicBezTo>
                    <a:pt x="20881" y="6892"/>
                    <a:pt x="20592" y="6222"/>
                    <a:pt x="20242" y="5586"/>
                  </a:cubicBezTo>
                  <a:cubicBezTo>
                    <a:pt x="19531" y="4296"/>
                    <a:pt x="18587" y="3166"/>
                    <a:pt x="17463" y="2263"/>
                  </a:cubicBezTo>
                  <a:cubicBezTo>
                    <a:pt x="16830" y="1740"/>
                    <a:pt x="16142" y="1296"/>
                    <a:pt x="15412" y="940"/>
                  </a:cubicBezTo>
                  <a:cubicBezTo>
                    <a:pt x="14755" y="618"/>
                    <a:pt x="14068" y="370"/>
                    <a:pt x="13362" y="198"/>
                  </a:cubicBezTo>
                  <a:close/>
                  <a:moveTo>
                    <a:pt x="11804" y="1057"/>
                  </a:moveTo>
                  <a:lnTo>
                    <a:pt x="11750" y="1113"/>
                  </a:lnTo>
                  <a:lnTo>
                    <a:pt x="11759" y="1218"/>
                  </a:lnTo>
                  <a:cubicBezTo>
                    <a:pt x="11781" y="1238"/>
                    <a:pt x="11806" y="1254"/>
                    <a:pt x="11833" y="1266"/>
                  </a:cubicBezTo>
                  <a:cubicBezTo>
                    <a:pt x="11879" y="1285"/>
                    <a:pt x="11929" y="1290"/>
                    <a:pt x="11977" y="1282"/>
                  </a:cubicBezTo>
                  <a:lnTo>
                    <a:pt x="12032" y="1234"/>
                  </a:lnTo>
                  <a:lnTo>
                    <a:pt x="12014" y="1116"/>
                  </a:lnTo>
                  <a:lnTo>
                    <a:pt x="11933" y="1139"/>
                  </a:lnTo>
                  <a:lnTo>
                    <a:pt x="11880" y="1116"/>
                  </a:lnTo>
                  <a:lnTo>
                    <a:pt x="11804" y="1057"/>
                  </a:lnTo>
                  <a:close/>
                  <a:moveTo>
                    <a:pt x="11645" y="1218"/>
                  </a:moveTo>
                  <a:lnTo>
                    <a:pt x="11557" y="1256"/>
                  </a:lnTo>
                  <a:lnTo>
                    <a:pt x="11543" y="1328"/>
                  </a:lnTo>
                  <a:lnTo>
                    <a:pt x="11647" y="1352"/>
                  </a:lnTo>
                  <a:lnTo>
                    <a:pt x="11795" y="1365"/>
                  </a:lnTo>
                  <a:lnTo>
                    <a:pt x="11855" y="1336"/>
                  </a:lnTo>
                  <a:lnTo>
                    <a:pt x="11731" y="1290"/>
                  </a:lnTo>
                  <a:lnTo>
                    <a:pt x="11645" y="1218"/>
                  </a:lnTo>
                  <a:close/>
                  <a:moveTo>
                    <a:pt x="13188" y="1253"/>
                  </a:moveTo>
                  <a:lnTo>
                    <a:pt x="13232" y="1337"/>
                  </a:lnTo>
                  <a:lnTo>
                    <a:pt x="13303" y="1401"/>
                  </a:lnTo>
                  <a:lnTo>
                    <a:pt x="13410" y="1395"/>
                  </a:lnTo>
                  <a:lnTo>
                    <a:pt x="13343" y="1253"/>
                  </a:lnTo>
                  <a:lnTo>
                    <a:pt x="13188" y="1253"/>
                  </a:lnTo>
                  <a:close/>
                  <a:moveTo>
                    <a:pt x="10974" y="1332"/>
                  </a:moveTo>
                  <a:cubicBezTo>
                    <a:pt x="10944" y="1326"/>
                    <a:pt x="10912" y="1334"/>
                    <a:pt x="10886" y="1356"/>
                  </a:cubicBezTo>
                  <a:lnTo>
                    <a:pt x="10765" y="1364"/>
                  </a:lnTo>
                  <a:lnTo>
                    <a:pt x="10647" y="1405"/>
                  </a:lnTo>
                  <a:lnTo>
                    <a:pt x="10573" y="1441"/>
                  </a:lnTo>
                  <a:lnTo>
                    <a:pt x="10428" y="1424"/>
                  </a:lnTo>
                  <a:lnTo>
                    <a:pt x="10416" y="1513"/>
                  </a:lnTo>
                  <a:lnTo>
                    <a:pt x="10419" y="1633"/>
                  </a:lnTo>
                  <a:lnTo>
                    <a:pt x="10497" y="1660"/>
                  </a:lnTo>
                  <a:lnTo>
                    <a:pt x="10553" y="1768"/>
                  </a:lnTo>
                  <a:lnTo>
                    <a:pt x="10553" y="1844"/>
                  </a:lnTo>
                  <a:lnTo>
                    <a:pt x="10686" y="1833"/>
                  </a:lnTo>
                  <a:lnTo>
                    <a:pt x="10707" y="1655"/>
                  </a:lnTo>
                  <a:lnTo>
                    <a:pt x="10788" y="1614"/>
                  </a:lnTo>
                  <a:lnTo>
                    <a:pt x="10821" y="1725"/>
                  </a:lnTo>
                  <a:lnTo>
                    <a:pt x="10904" y="1795"/>
                  </a:lnTo>
                  <a:lnTo>
                    <a:pt x="10992" y="1748"/>
                  </a:lnTo>
                  <a:cubicBezTo>
                    <a:pt x="10989" y="1718"/>
                    <a:pt x="10982" y="1688"/>
                    <a:pt x="10969" y="1661"/>
                  </a:cubicBezTo>
                  <a:cubicBezTo>
                    <a:pt x="10954" y="1628"/>
                    <a:pt x="10932" y="1599"/>
                    <a:pt x="10905" y="1576"/>
                  </a:cubicBezTo>
                  <a:lnTo>
                    <a:pt x="11002" y="1511"/>
                  </a:lnTo>
                  <a:lnTo>
                    <a:pt x="11061" y="1459"/>
                  </a:lnTo>
                  <a:cubicBezTo>
                    <a:pt x="11065" y="1434"/>
                    <a:pt x="11061" y="1409"/>
                    <a:pt x="11049" y="1387"/>
                  </a:cubicBezTo>
                  <a:cubicBezTo>
                    <a:pt x="11033" y="1356"/>
                    <a:pt x="11004" y="1338"/>
                    <a:pt x="10974" y="1332"/>
                  </a:cubicBezTo>
                  <a:close/>
                  <a:moveTo>
                    <a:pt x="12751" y="1394"/>
                  </a:moveTo>
                  <a:lnTo>
                    <a:pt x="12654" y="1434"/>
                  </a:lnTo>
                  <a:lnTo>
                    <a:pt x="12663" y="1514"/>
                  </a:lnTo>
                  <a:lnTo>
                    <a:pt x="12640" y="1582"/>
                  </a:lnTo>
                  <a:lnTo>
                    <a:pt x="12550" y="1610"/>
                  </a:lnTo>
                  <a:lnTo>
                    <a:pt x="12516" y="1661"/>
                  </a:lnTo>
                  <a:lnTo>
                    <a:pt x="12518" y="1768"/>
                  </a:lnTo>
                  <a:lnTo>
                    <a:pt x="12564" y="1841"/>
                  </a:lnTo>
                  <a:lnTo>
                    <a:pt x="12576" y="1913"/>
                  </a:lnTo>
                  <a:lnTo>
                    <a:pt x="12619" y="2015"/>
                  </a:lnTo>
                  <a:lnTo>
                    <a:pt x="12677" y="2137"/>
                  </a:lnTo>
                  <a:lnTo>
                    <a:pt x="12624" y="2171"/>
                  </a:lnTo>
                  <a:lnTo>
                    <a:pt x="12697" y="2243"/>
                  </a:lnTo>
                  <a:lnTo>
                    <a:pt x="12821" y="2296"/>
                  </a:lnTo>
                  <a:lnTo>
                    <a:pt x="12956" y="2362"/>
                  </a:lnTo>
                  <a:cubicBezTo>
                    <a:pt x="12993" y="2365"/>
                    <a:pt x="13029" y="2356"/>
                    <a:pt x="13062" y="2339"/>
                  </a:cubicBezTo>
                  <a:cubicBezTo>
                    <a:pt x="13090" y="2325"/>
                    <a:pt x="13115" y="2304"/>
                    <a:pt x="13135" y="2279"/>
                  </a:cubicBezTo>
                  <a:lnTo>
                    <a:pt x="13039" y="2203"/>
                  </a:lnTo>
                  <a:lnTo>
                    <a:pt x="12882" y="2121"/>
                  </a:lnTo>
                  <a:cubicBezTo>
                    <a:pt x="12846" y="2095"/>
                    <a:pt x="12815" y="2063"/>
                    <a:pt x="12789" y="2026"/>
                  </a:cubicBezTo>
                  <a:cubicBezTo>
                    <a:pt x="12745" y="1964"/>
                    <a:pt x="12718" y="1891"/>
                    <a:pt x="12711" y="1814"/>
                  </a:cubicBezTo>
                  <a:lnTo>
                    <a:pt x="12747" y="1663"/>
                  </a:lnTo>
                  <a:lnTo>
                    <a:pt x="12828" y="1530"/>
                  </a:lnTo>
                  <a:lnTo>
                    <a:pt x="12821" y="1413"/>
                  </a:lnTo>
                  <a:lnTo>
                    <a:pt x="12751" y="1394"/>
                  </a:lnTo>
                  <a:close/>
                  <a:moveTo>
                    <a:pt x="12846" y="2449"/>
                  </a:moveTo>
                  <a:lnTo>
                    <a:pt x="12740" y="2477"/>
                  </a:lnTo>
                  <a:lnTo>
                    <a:pt x="12774" y="2595"/>
                  </a:lnTo>
                  <a:lnTo>
                    <a:pt x="12909" y="2569"/>
                  </a:lnTo>
                  <a:lnTo>
                    <a:pt x="12925" y="2497"/>
                  </a:lnTo>
                  <a:lnTo>
                    <a:pt x="12846" y="2449"/>
                  </a:lnTo>
                  <a:close/>
                  <a:moveTo>
                    <a:pt x="7731" y="2736"/>
                  </a:moveTo>
                  <a:lnTo>
                    <a:pt x="7664" y="2772"/>
                  </a:lnTo>
                  <a:lnTo>
                    <a:pt x="7536" y="2800"/>
                  </a:lnTo>
                  <a:lnTo>
                    <a:pt x="7403" y="2835"/>
                  </a:lnTo>
                  <a:lnTo>
                    <a:pt x="7487" y="2911"/>
                  </a:lnTo>
                  <a:lnTo>
                    <a:pt x="7421" y="2999"/>
                  </a:lnTo>
                  <a:lnTo>
                    <a:pt x="7408" y="3065"/>
                  </a:lnTo>
                  <a:lnTo>
                    <a:pt x="7425" y="3182"/>
                  </a:lnTo>
                  <a:lnTo>
                    <a:pt x="7577" y="3246"/>
                  </a:lnTo>
                  <a:lnTo>
                    <a:pt x="7661" y="3325"/>
                  </a:lnTo>
                  <a:cubicBezTo>
                    <a:pt x="7692" y="3314"/>
                    <a:pt x="7724" y="3304"/>
                    <a:pt x="7755" y="3296"/>
                  </a:cubicBezTo>
                  <a:cubicBezTo>
                    <a:pt x="7813" y="3280"/>
                    <a:pt x="7872" y="3268"/>
                    <a:pt x="7932" y="3259"/>
                  </a:cubicBezTo>
                  <a:cubicBezTo>
                    <a:pt x="7971" y="3260"/>
                    <a:pt x="8010" y="3254"/>
                    <a:pt x="8048" y="3242"/>
                  </a:cubicBezTo>
                  <a:cubicBezTo>
                    <a:pt x="8090" y="3228"/>
                    <a:pt x="8130" y="3206"/>
                    <a:pt x="8165" y="3177"/>
                  </a:cubicBezTo>
                  <a:lnTo>
                    <a:pt x="8191" y="3113"/>
                  </a:lnTo>
                  <a:lnTo>
                    <a:pt x="8179" y="3019"/>
                  </a:lnTo>
                  <a:lnTo>
                    <a:pt x="8169" y="2878"/>
                  </a:lnTo>
                  <a:lnTo>
                    <a:pt x="8076" y="2878"/>
                  </a:lnTo>
                  <a:lnTo>
                    <a:pt x="8032" y="2927"/>
                  </a:lnTo>
                  <a:lnTo>
                    <a:pt x="7979" y="2890"/>
                  </a:lnTo>
                  <a:lnTo>
                    <a:pt x="7898" y="2885"/>
                  </a:lnTo>
                  <a:lnTo>
                    <a:pt x="7844" y="2890"/>
                  </a:lnTo>
                  <a:lnTo>
                    <a:pt x="7739" y="2915"/>
                  </a:lnTo>
                  <a:lnTo>
                    <a:pt x="7752" y="2819"/>
                  </a:lnTo>
                  <a:lnTo>
                    <a:pt x="7731" y="2736"/>
                  </a:lnTo>
                  <a:close/>
                  <a:moveTo>
                    <a:pt x="8436" y="3546"/>
                  </a:moveTo>
                  <a:lnTo>
                    <a:pt x="8362" y="3614"/>
                  </a:lnTo>
                  <a:lnTo>
                    <a:pt x="8359" y="3675"/>
                  </a:lnTo>
                  <a:lnTo>
                    <a:pt x="8355" y="3746"/>
                  </a:lnTo>
                  <a:lnTo>
                    <a:pt x="8399" y="3794"/>
                  </a:lnTo>
                  <a:lnTo>
                    <a:pt x="8452" y="3727"/>
                  </a:lnTo>
                  <a:lnTo>
                    <a:pt x="8497" y="3637"/>
                  </a:lnTo>
                  <a:lnTo>
                    <a:pt x="8542" y="3567"/>
                  </a:lnTo>
                  <a:lnTo>
                    <a:pt x="8436" y="3546"/>
                  </a:lnTo>
                  <a:close/>
                  <a:moveTo>
                    <a:pt x="8844" y="3877"/>
                  </a:moveTo>
                  <a:lnTo>
                    <a:pt x="8755" y="3913"/>
                  </a:lnTo>
                  <a:lnTo>
                    <a:pt x="8716" y="4039"/>
                  </a:lnTo>
                  <a:lnTo>
                    <a:pt x="8792" y="4083"/>
                  </a:lnTo>
                  <a:lnTo>
                    <a:pt x="8856" y="3966"/>
                  </a:lnTo>
                  <a:lnTo>
                    <a:pt x="8844" y="3877"/>
                  </a:lnTo>
                  <a:close/>
                  <a:moveTo>
                    <a:pt x="10871" y="4055"/>
                  </a:moveTo>
                  <a:lnTo>
                    <a:pt x="10834" y="4132"/>
                  </a:lnTo>
                  <a:lnTo>
                    <a:pt x="10881" y="4193"/>
                  </a:lnTo>
                  <a:lnTo>
                    <a:pt x="10972" y="4202"/>
                  </a:lnTo>
                  <a:lnTo>
                    <a:pt x="10968" y="4120"/>
                  </a:lnTo>
                  <a:lnTo>
                    <a:pt x="10871" y="4055"/>
                  </a:lnTo>
                  <a:close/>
                  <a:moveTo>
                    <a:pt x="10788" y="4448"/>
                  </a:moveTo>
                  <a:lnTo>
                    <a:pt x="10730" y="4507"/>
                  </a:lnTo>
                  <a:lnTo>
                    <a:pt x="10711" y="4594"/>
                  </a:lnTo>
                  <a:lnTo>
                    <a:pt x="10730" y="4694"/>
                  </a:lnTo>
                  <a:lnTo>
                    <a:pt x="10784" y="4668"/>
                  </a:lnTo>
                  <a:lnTo>
                    <a:pt x="10840" y="4561"/>
                  </a:lnTo>
                  <a:lnTo>
                    <a:pt x="10852" y="4474"/>
                  </a:lnTo>
                  <a:lnTo>
                    <a:pt x="10788" y="4448"/>
                  </a:lnTo>
                  <a:close/>
                  <a:moveTo>
                    <a:pt x="9401" y="7147"/>
                  </a:moveTo>
                  <a:lnTo>
                    <a:pt x="9307" y="7216"/>
                  </a:lnTo>
                  <a:lnTo>
                    <a:pt x="9256" y="7286"/>
                  </a:lnTo>
                  <a:lnTo>
                    <a:pt x="9310" y="7402"/>
                  </a:lnTo>
                  <a:lnTo>
                    <a:pt x="9356" y="7574"/>
                  </a:lnTo>
                  <a:lnTo>
                    <a:pt x="9253" y="7495"/>
                  </a:lnTo>
                  <a:lnTo>
                    <a:pt x="9180" y="7595"/>
                  </a:lnTo>
                  <a:lnTo>
                    <a:pt x="9195" y="7728"/>
                  </a:lnTo>
                  <a:lnTo>
                    <a:pt x="9119" y="7961"/>
                  </a:lnTo>
                  <a:lnTo>
                    <a:pt x="9238" y="8038"/>
                  </a:lnTo>
                  <a:cubicBezTo>
                    <a:pt x="9270" y="8022"/>
                    <a:pt x="9299" y="8002"/>
                    <a:pt x="9325" y="7977"/>
                  </a:cubicBezTo>
                  <a:cubicBezTo>
                    <a:pt x="9372" y="7934"/>
                    <a:pt x="9408" y="7879"/>
                    <a:pt x="9430" y="7817"/>
                  </a:cubicBezTo>
                  <a:cubicBezTo>
                    <a:pt x="9437" y="7791"/>
                    <a:pt x="9442" y="7764"/>
                    <a:pt x="9445" y="7737"/>
                  </a:cubicBezTo>
                  <a:cubicBezTo>
                    <a:pt x="9452" y="7683"/>
                    <a:pt x="9452" y="7628"/>
                    <a:pt x="9445" y="7574"/>
                  </a:cubicBezTo>
                  <a:cubicBezTo>
                    <a:pt x="9436" y="7539"/>
                    <a:pt x="9431" y="7503"/>
                    <a:pt x="9430" y="7467"/>
                  </a:cubicBezTo>
                  <a:cubicBezTo>
                    <a:pt x="9429" y="7423"/>
                    <a:pt x="9434" y="7379"/>
                    <a:pt x="9445" y="7337"/>
                  </a:cubicBezTo>
                  <a:lnTo>
                    <a:pt x="9467" y="7244"/>
                  </a:lnTo>
                  <a:lnTo>
                    <a:pt x="9401" y="7147"/>
                  </a:lnTo>
                  <a:close/>
                  <a:moveTo>
                    <a:pt x="8622" y="7534"/>
                  </a:moveTo>
                  <a:lnTo>
                    <a:pt x="8551" y="7572"/>
                  </a:lnTo>
                  <a:lnTo>
                    <a:pt x="8441" y="7586"/>
                  </a:lnTo>
                  <a:lnTo>
                    <a:pt x="8325" y="7622"/>
                  </a:lnTo>
                  <a:lnTo>
                    <a:pt x="8254" y="7759"/>
                  </a:lnTo>
                  <a:cubicBezTo>
                    <a:pt x="8278" y="7808"/>
                    <a:pt x="8327" y="7838"/>
                    <a:pt x="8380" y="7833"/>
                  </a:cubicBezTo>
                  <a:cubicBezTo>
                    <a:pt x="8426" y="7829"/>
                    <a:pt x="8466" y="7798"/>
                    <a:pt x="8484" y="7753"/>
                  </a:cubicBezTo>
                  <a:lnTo>
                    <a:pt x="8582" y="7682"/>
                  </a:lnTo>
                  <a:lnTo>
                    <a:pt x="8667" y="7603"/>
                  </a:lnTo>
                  <a:lnTo>
                    <a:pt x="8622" y="7534"/>
                  </a:lnTo>
                  <a:close/>
                  <a:moveTo>
                    <a:pt x="8136" y="7861"/>
                  </a:moveTo>
                  <a:lnTo>
                    <a:pt x="8035" y="7952"/>
                  </a:lnTo>
                  <a:lnTo>
                    <a:pt x="8173" y="8009"/>
                  </a:lnTo>
                  <a:lnTo>
                    <a:pt x="8136" y="7861"/>
                  </a:lnTo>
                  <a:close/>
                  <a:moveTo>
                    <a:pt x="13424" y="8434"/>
                  </a:moveTo>
                  <a:lnTo>
                    <a:pt x="13321" y="8461"/>
                  </a:lnTo>
                  <a:lnTo>
                    <a:pt x="13211" y="8500"/>
                  </a:lnTo>
                  <a:lnTo>
                    <a:pt x="13039" y="8550"/>
                  </a:lnTo>
                  <a:lnTo>
                    <a:pt x="12957" y="8653"/>
                  </a:lnTo>
                  <a:lnTo>
                    <a:pt x="13012" y="8739"/>
                  </a:lnTo>
                  <a:cubicBezTo>
                    <a:pt x="13051" y="8770"/>
                    <a:pt x="13101" y="8779"/>
                    <a:pt x="13146" y="8764"/>
                  </a:cubicBezTo>
                  <a:cubicBezTo>
                    <a:pt x="13184" y="8751"/>
                    <a:pt x="13215" y="8721"/>
                    <a:pt x="13233" y="8684"/>
                  </a:cubicBezTo>
                  <a:cubicBezTo>
                    <a:pt x="13254" y="8653"/>
                    <a:pt x="13278" y="8625"/>
                    <a:pt x="13306" y="8600"/>
                  </a:cubicBezTo>
                  <a:cubicBezTo>
                    <a:pt x="13333" y="8576"/>
                    <a:pt x="13363" y="8556"/>
                    <a:pt x="13395" y="8539"/>
                  </a:cubicBezTo>
                  <a:lnTo>
                    <a:pt x="13424" y="8434"/>
                  </a:lnTo>
                  <a:close/>
                  <a:moveTo>
                    <a:pt x="10102" y="8520"/>
                  </a:moveTo>
                  <a:lnTo>
                    <a:pt x="10039" y="8604"/>
                  </a:lnTo>
                  <a:lnTo>
                    <a:pt x="10094" y="8677"/>
                  </a:lnTo>
                  <a:lnTo>
                    <a:pt x="10183" y="8677"/>
                  </a:lnTo>
                  <a:lnTo>
                    <a:pt x="10205" y="8591"/>
                  </a:lnTo>
                  <a:lnTo>
                    <a:pt x="10102" y="8520"/>
                  </a:lnTo>
                  <a:close/>
                  <a:moveTo>
                    <a:pt x="21169" y="9862"/>
                  </a:moveTo>
                  <a:lnTo>
                    <a:pt x="21146" y="9998"/>
                  </a:lnTo>
                  <a:lnTo>
                    <a:pt x="21183" y="10118"/>
                  </a:lnTo>
                  <a:lnTo>
                    <a:pt x="21250" y="10302"/>
                  </a:lnTo>
                  <a:lnTo>
                    <a:pt x="21222" y="10447"/>
                  </a:lnTo>
                  <a:lnTo>
                    <a:pt x="21287" y="10655"/>
                  </a:lnTo>
                  <a:lnTo>
                    <a:pt x="21315" y="10532"/>
                  </a:lnTo>
                  <a:lnTo>
                    <a:pt x="21298" y="10444"/>
                  </a:lnTo>
                  <a:lnTo>
                    <a:pt x="21335" y="10329"/>
                  </a:lnTo>
                  <a:lnTo>
                    <a:pt x="21281" y="10210"/>
                  </a:lnTo>
                  <a:lnTo>
                    <a:pt x="21245" y="9981"/>
                  </a:lnTo>
                  <a:lnTo>
                    <a:pt x="21169" y="9862"/>
                  </a:lnTo>
                  <a:close/>
                  <a:moveTo>
                    <a:pt x="0" y="11275"/>
                  </a:moveTo>
                  <a:cubicBezTo>
                    <a:pt x="0" y="12499"/>
                    <a:pt x="177" y="13717"/>
                    <a:pt x="524" y="14885"/>
                  </a:cubicBezTo>
                  <a:cubicBezTo>
                    <a:pt x="706" y="15497"/>
                    <a:pt x="934" y="16091"/>
                    <a:pt x="1210" y="16659"/>
                  </a:cubicBezTo>
                  <a:cubicBezTo>
                    <a:pt x="1482" y="17217"/>
                    <a:pt x="1800" y="17750"/>
                    <a:pt x="2161" y="18251"/>
                  </a:cubicBezTo>
                  <a:lnTo>
                    <a:pt x="2115" y="17775"/>
                  </a:lnTo>
                  <a:lnTo>
                    <a:pt x="2097" y="17506"/>
                  </a:lnTo>
                  <a:lnTo>
                    <a:pt x="2092" y="17376"/>
                  </a:lnTo>
                  <a:lnTo>
                    <a:pt x="2005" y="17211"/>
                  </a:lnTo>
                  <a:lnTo>
                    <a:pt x="2011" y="17102"/>
                  </a:lnTo>
                  <a:lnTo>
                    <a:pt x="1996" y="16966"/>
                  </a:lnTo>
                  <a:lnTo>
                    <a:pt x="1956" y="16852"/>
                  </a:lnTo>
                  <a:lnTo>
                    <a:pt x="1885" y="16694"/>
                  </a:lnTo>
                  <a:lnTo>
                    <a:pt x="1932" y="16631"/>
                  </a:lnTo>
                  <a:cubicBezTo>
                    <a:pt x="1948" y="16580"/>
                    <a:pt x="1958" y="16527"/>
                    <a:pt x="1961" y="16474"/>
                  </a:cubicBezTo>
                  <a:cubicBezTo>
                    <a:pt x="1964" y="16428"/>
                    <a:pt x="1963" y="16383"/>
                    <a:pt x="1956" y="16337"/>
                  </a:cubicBezTo>
                  <a:cubicBezTo>
                    <a:pt x="1958" y="16274"/>
                    <a:pt x="1969" y="16211"/>
                    <a:pt x="1989" y="16151"/>
                  </a:cubicBezTo>
                  <a:cubicBezTo>
                    <a:pt x="2009" y="16097"/>
                    <a:pt x="2035" y="16046"/>
                    <a:pt x="2057" y="15993"/>
                  </a:cubicBezTo>
                  <a:cubicBezTo>
                    <a:pt x="2080" y="15936"/>
                    <a:pt x="2098" y="15876"/>
                    <a:pt x="2102" y="15815"/>
                  </a:cubicBezTo>
                  <a:cubicBezTo>
                    <a:pt x="2106" y="15757"/>
                    <a:pt x="2098" y="15699"/>
                    <a:pt x="2079" y="15644"/>
                  </a:cubicBezTo>
                  <a:lnTo>
                    <a:pt x="2041" y="15473"/>
                  </a:lnTo>
                  <a:lnTo>
                    <a:pt x="1964" y="15342"/>
                  </a:lnTo>
                  <a:lnTo>
                    <a:pt x="1812" y="15197"/>
                  </a:lnTo>
                  <a:lnTo>
                    <a:pt x="1692" y="15083"/>
                  </a:lnTo>
                  <a:lnTo>
                    <a:pt x="1617" y="14899"/>
                  </a:lnTo>
                  <a:lnTo>
                    <a:pt x="1567" y="14788"/>
                  </a:lnTo>
                  <a:lnTo>
                    <a:pt x="1544" y="14639"/>
                  </a:lnTo>
                  <a:lnTo>
                    <a:pt x="1461" y="14514"/>
                  </a:lnTo>
                  <a:lnTo>
                    <a:pt x="1272" y="14291"/>
                  </a:lnTo>
                  <a:lnTo>
                    <a:pt x="1203" y="14210"/>
                  </a:lnTo>
                  <a:lnTo>
                    <a:pt x="1163" y="14149"/>
                  </a:lnTo>
                  <a:lnTo>
                    <a:pt x="1088" y="14082"/>
                  </a:lnTo>
                  <a:lnTo>
                    <a:pt x="1030" y="14002"/>
                  </a:lnTo>
                  <a:lnTo>
                    <a:pt x="993" y="13898"/>
                  </a:lnTo>
                  <a:lnTo>
                    <a:pt x="972" y="13809"/>
                  </a:lnTo>
                  <a:lnTo>
                    <a:pt x="935" y="13707"/>
                  </a:lnTo>
                  <a:cubicBezTo>
                    <a:pt x="916" y="13681"/>
                    <a:pt x="897" y="13654"/>
                    <a:pt x="878" y="13628"/>
                  </a:cubicBezTo>
                  <a:cubicBezTo>
                    <a:pt x="850" y="13588"/>
                    <a:pt x="822" y="13548"/>
                    <a:pt x="795" y="13508"/>
                  </a:cubicBezTo>
                  <a:lnTo>
                    <a:pt x="721" y="13368"/>
                  </a:lnTo>
                  <a:cubicBezTo>
                    <a:pt x="686" y="13325"/>
                    <a:pt x="657" y="13275"/>
                    <a:pt x="637" y="13223"/>
                  </a:cubicBezTo>
                  <a:cubicBezTo>
                    <a:pt x="612" y="13159"/>
                    <a:pt x="599" y="13092"/>
                    <a:pt x="597" y="13024"/>
                  </a:cubicBezTo>
                  <a:lnTo>
                    <a:pt x="592" y="12811"/>
                  </a:lnTo>
                  <a:lnTo>
                    <a:pt x="604" y="12571"/>
                  </a:lnTo>
                  <a:lnTo>
                    <a:pt x="609" y="12336"/>
                  </a:lnTo>
                  <a:lnTo>
                    <a:pt x="547" y="12118"/>
                  </a:lnTo>
                  <a:lnTo>
                    <a:pt x="560" y="11966"/>
                  </a:lnTo>
                  <a:lnTo>
                    <a:pt x="376" y="11706"/>
                  </a:lnTo>
                  <a:lnTo>
                    <a:pt x="0" y="11275"/>
                  </a:lnTo>
                  <a:close/>
                  <a:moveTo>
                    <a:pt x="15048" y="16671"/>
                  </a:moveTo>
                  <a:lnTo>
                    <a:pt x="14992" y="16735"/>
                  </a:lnTo>
                  <a:lnTo>
                    <a:pt x="15024" y="16849"/>
                  </a:lnTo>
                  <a:lnTo>
                    <a:pt x="15131" y="16839"/>
                  </a:lnTo>
                  <a:lnTo>
                    <a:pt x="15142" y="16721"/>
                  </a:lnTo>
                  <a:lnTo>
                    <a:pt x="15048" y="16671"/>
                  </a:lnTo>
                  <a:close/>
                  <a:moveTo>
                    <a:pt x="16481" y="17584"/>
                  </a:moveTo>
                  <a:lnTo>
                    <a:pt x="16457" y="17658"/>
                  </a:lnTo>
                  <a:lnTo>
                    <a:pt x="16430" y="17760"/>
                  </a:lnTo>
                  <a:lnTo>
                    <a:pt x="16406" y="17848"/>
                  </a:lnTo>
                  <a:lnTo>
                    <a:pt x="16333" y="17884"/>
                  </a:lnTo>
                  <a:lnTo>
                    <a:pt x="16291" y="17933"/>
                  </a:lnTo>
                  <a:lnTo>
                    <a:pt x="16230" y="18054"/>
                  </a:lnTo>
                  <a:cubicBezTo>
                    <a:pt x="16214" y="18108"/>
                    <a:pt x="16183" y="18155"/>
                    <a:pt x="16142" y="18189"/>
                  </a:cubicBezTo>
                  <a:cubicBezTo>
                    <a:pt x="16106" y="18219"/>
                    <a:pt x="16064" y="18238"/>
                    <a:pt x="16024" y="18261"/>
                  </a:cubicBezTo>
                  <a:cubicBezTo>
                    <a:pt x="15966" y="18294"/>
                    <a:pt x="15913" y="18336"/>
                    <a:pt x="15854" y="18368"/>
                  </a:cubicBezTo>
                  <a:cubicBezTo>
                    <a:pt x="15805" y="18394"/>
                    <a:pt x="15751" y="18414"/>
                    <a:pt x="15704" y="18445"/>
                  </a:cubicBezTo>
                  <a:cubicBezTo>
                    <a:pt x="15667" y="18468"/>
                    <a:pt x="15635" y="18498"/>
                    <a:pt x="15608" y="18534"/>
                  </a:cubicBezTo>
                  <a:cubicBezTo>
                    <a:pt x="15623" y="18573"/>
                    <a:pt x="15624" y="18617"/>
                    <a:pt x="15609" y="18657"/>
                  </a:cubicBezTo>
                  <a:cubicBezTo>
                    <a:pt x="15594" y="18699"/>
                    <a:pt x="15562" y="18733"/>
                    <a:pt x="15523" y="18751"/>
                  </a:cubicBezTo>
                  <a:lnTo>
                    <a:pt x="15491" y="18850"/>
                  </a:lnTo>
                  <a:lnTo>
                    <a:pt x="15503" y="18955"/>
                  </a:lnTo>
                  <a:lnTo>
                    <a:pt x="15570" y="19139"/>
                  </a:lnTo>
                  <a:cubicBezTo>
                    <a:pt x="15553" y="19168"/>
                    <a:pt x="15534" y="19197"/>
                    <a:pt x="15514" y="19224"/>
                  </a:cubicBezTo>
                  <a:cubicBezTo>
                    <a:pt x="15483" y="19265"/>
                    <a:pt x="15449" y="19303"/>
                    <a:pt x="15405" y="19327"/>
                  </a:cubicBezTo>
                  <a:cubicBezTo>
                    <a:pt x="15371" y="19345"/>
                    <a:pt x="15332" y="19354"/>
                    <a:pt x="15298" y="19374"/>
                  </a:cubicBezTo>
                  <a:cubicBezTo>
                    <a:pt x="15263" y="19395"/>
                    <a:pt x="15235" y="19428"/>
                    <a:pt x="15219" y="19467"/>
                  </a:cubicBezTo>
                  <a:lnTo>
                    <a:pt x="15232" y="19572"/>
                  </a:lnTo>
                  <a:lnTo>
                    <a:pt x="15292" y="19689"/>
                  </a:lnTo>
                  <a:lnTo>
                    <a:pt x="15264" y="19885"/>
                  </a:lnTo>
                  <a:lnTo>
                    <a:pt x="15350" y="19975"/>
                  </a:lnTo>
                  <a:lnTo>
                    <a:pt x="15452" y="19999"/>
                  </a:lnTo>
                  <a:lnTo>
                    <a:pt x="15539" y="19979"/>
                  </a:lnTo>
                  <a:lnTo>
                    <a:pt x="15600" y="19902"/>
                  </a:lnTo>
                  <a:cubicBezTo>
                    <a:pt x="15619" y="19902"/>
                    <a:pt x="15638" y="19901"/>
                    <a:pt x="15657" y="19897"/>
                  </a:cubicBezTo>
                  <a:cubicBezTo>
                    <a:pt x="15686" y="19890"/>
                    <a:pt x="15715" y="19878"/>
                    <a:pt x="15741" y="19862"/>
                  </a:cubicBezTo>
                  <a:cubicBezTo>
                    <a:pt x="15772" y="19849"/>
                    <a:pt x="15800" y="19828"/>
                    <a:pt x="15823" y="19801"/>
                  </a:cubicBezTo>
                  <a:cubicBezTo>
                    <a:pt x="15878" y="19733"/>
                    <a:pt x="15891" y="19637"/>
                    <a:pt x="15854" y="19556"/>
                  </a:cubicBezTo>
                  <a:cubicBezTo>
                    <a:pt x="15911" y="19485"/>
                    <a:pt x="15961" y="19408"/>
                    <a:pt x="16002" y="19327"/>
                  </a:cubicBezTo>
                  <a:cubicBezTo>
                    <a:pt x="16049" y="19235"/>
                    <a:pt x="16087" y="19138"/>
                    <a:pt x="16131" y="19046"/>
                  </a:cubicBezTo>
                  <a:cubicBezTo>
                    <a:pt x="16156" y="18995"/>
                    <a:pt x="16182" y="18946"/>
                    <a:pt x="16209" y="18897"/>
                  </a:cubicBezTo>
                  <a:cubicBezTo>
                    <a:pt x="16253" y="18817"/>
                    <a:pt x="16297" y="18738"/>
                    <a:pt x="16338" y="18657"/>
                  </a:cubicBezTo>
                  <a:cubicBezTo>
                    <a:pt x="16362" y="18608"/>
                    <a:pt x="16385" y="18559"/>
                    <a:pt x="16407" y="18509"/>
                  </a:cubicBezTo>
                  <a:lnTo>
                    <a:pt x="16481" y="18420"/>
                  </a:lnTo>
                  <a:lnTo>
                    <a:pt x="16538" y="18315"/>
                  </a:lnTo>
                  <a:cubicBezTo>
                    <a:pt x="16538" y="18293"/>
                    <a:pt x="16545" y="18272"/>
                    <a:pt x="16559" y="18255"/>
                  </a:cubicBezTo>
                  <a:cubicBezTo>
                    <a:pt x="16582" y="18228"/>
                    <a:pt x="16619" y="18220"/>
                    <a:pt x="16651" y="18234"/>
                  </a:cubicBezTo>
                  <a:lnTo>
                    <a:pt x="16676" y="18122"/>
                  </a:lnTo>
                  <a:lnTo>
                    <a:pt x="16676" y="17930"/>
                  </a:lnTo>
                  <a:lnTo>
                    <a:pt x="16619" y="17758"/>
                  </a:lnTo>
                  <a:lnTo>
                    <a:pt x="16579" y="17677"/>
                  </a:lnTo>
                  <a:lnTo>
                    <a:pt x="16551" y="17596"/>
                  </a:lnTo>
                  <a:lnTo>
                    <a:pt x="16481" y="17584"/>
                  </a:lnTo>
                  <a:close/>
                  <a:moveTo>
                    <a:pt x="15714" y="17811"/>
                  </a:moveTo>
                  <a:lnTo>
                    <a:pt x="15664" y="17875"/>
                  </a:lnTo>
                  <a:lnTo>
                    <a:pt x="15664" y="17957"/>
                  </a:lnTo>
                  <a:lnTo>
                    <a:pt x="15745" y="17925"/>
                  </a:lnTo>
                  <a:lnTo>
                    <a:pt x="15802" y="17849"/>
                  </a:lnTo>
                  <a:lnTo>
                    <a:pt x="15714" y="17811"/>
                  </a:lnTo>
                  <a:close/>
                  <a:moveTo>
                    <a:pt x="15821" y="17892"/>
                  </a:moveTo>
                  <a:lnTo>
                    <a:pt x="15765" y="17964"/>
                  </a:lnTo>
                  <a:lnTo>
                    <a:pt x="15806" y="18038"/>
                  </a:lnTo>
                  <a:lnTo>
                    <a:pt x="15904" y="17966"/>
                  </a:lnTo>
                  <a:lnTo>
                    <a:pt x="15821" y="17892"/>
                  </a:lnTo>
                  <a:close/>
                  <a:moveTo>
                    <a:pt x="17584" y="18546"/>
                  </a:moveTo>
                  <a:lnTo>
                    <a:pt x="17515" y="18582"/>
                  </a:lnTo>
                  <a:lnTo>
                    <a:pt x="17466" y="18667"/>
                  </a:lnTo>
                  <a:lnTo>
                    <a:pt x="17478" y="18750"/>
                  </a:lnTo>
                  <a:lnTo>
                    <a:pt x="17548" y="18720"/>
                  </a:lnTo>
                  <a:lnTo>
                    <a:pt x="17616" y="18613"/>
                  </a:lnTo>
                  <a:lnTo>
                    <a:pt x="17584" y="18546"/>
                  </a:lnTo>
                  <a:close/>
                  <a:moveTo>
                    <a:pt x="17220" y="18796"/>
                  </a:moveTo>
                  <a:lnTo>
                    <a:pt x="17155" y="18839"/>
                  </a:lnTo>
                  <a:lnTo>
                    <a:pt x="17126" y="18942"/>
                  </a:lnTo>
                  <a:lnTo>
                    <a:pt x="17219" y="18905"/>
                  </a:lnTo>
                  <a:lnTo>
                    <a:pt x="17263" y="18855"/>
                  </a:lnTo>
                  <a:lnTo>
                    <a:pt x="17220" y="18796"/>
                  </a:lnTo>
                  <a:close/>
                </a:path>
              </a:pathLst>
            </a:custGeom>
            <a:solidFill>
              <a:srgbClr val="11E3F3">
                <a:alpha val="7911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1119362">
                <a:defRPr/>
              </a:pPr>
              <a:endParaRPr sz="2205">
                <a:solidFill>
                  <a:srgbClr val="454545"/>
                </a:solidFill>
                <a:latin typeface="Arial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8" name="iṥ1ïďe">
              <a:extLst>
                <a:ext uri="{FF2B5EF4-FFF2-40B4-BE49-F238E27FC236}">
                  <a16:creationId xmlns:a16="http://schemas.microsoft.com/office/drawing/2014/main" id="{E66B82DD-56D8-40D3-A5DC-3B2076998BEA}"/>
                </a:ext>
              </a:extLst>
            </p:cNvPr>
            <p:cNvSpPr/>
            <p:nvPr/>
          </p:nvSpPr>
          <p:spPr bwMode="auto">
            <a:xfrm>
              <a:off x="4713879" y="2570556"/>
              <a:ext cx="3070031" cy="2776479"/>
            </a:xfrm>
            <a:custGeom>
              <a:avLst/>
              <a:gdLst>
                <a:gd name="T0" fmla="*/ 10257 w 20514"/>
                <a:gd name="T1" fmla="*/ 10197 h 20394"/>
                <a:gd name="T2" fmla="*/ 10257 w 20514"/>
                <a:gd name="T3" fmla="*/ 10197 h 20394"/>
                <a:gd name="T4" fmla="*/ 10257 w 20514"/>
                <a:gd name="T5" fmla="*/ 10197 h 20394"/>
                <a:gd name="T6" fmla="*/ 10257 w 20514"/>
                <a:gd name="T7" fmla="*/ 10197 h 20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514" h="20394">
                  <a:moveTo>
                    <a:pt x="17804" y="0"/>
                  </a:moveTo>
                  <a:cubicBezTo>
                    <a:pt x="17536" y="3802"/>
                    <a:pt x="16084" y="7521"/>
                    <a:pt x="13439" y="10429"/>
                  </a:cubicBezTo>
                  <a:cubicBezTo>
                    <a:pt x="9786" y="14447"/>
                    <a:pt x="4723" y="15969"/>
                    <a:pt x="0" y="14997"/>
                  </a:cubicBezTo>
                  <a:cubicBezTo>
                    <a:pt x="389" y="15623"/>
                    <a:pt x="834" y="16220"/>
                    <a:pt x="1339" y="16776"/>
                  </a:cubicBezTo>
                  <a:cubicBezTo>
                    <a:pt x="5726" y="21600"/>
                    <a:pt x="12838" y="21600"/>
                    <a:pt x="17224" y="16776"/>
                  </a:cubicBezTo>
                  <a:cubicBezTo>
                    <a:pt x="21409" y="12176"/>
                    <a:pt x="21600" y="4852"/>
                    <a:pt x="17804" y="0"/>
                  </a:cubicBezTo>
                  <a:close/>
                </a:path>
              </a:pathLst>
            </a:custGeom>
            <a:solidFill>
              <a:srgbClr val="000000">
                <a:alpha val="10716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1119362">
                <a:defRPr/>
              </a:pPr>
              <a:endParaRPr sz="2205">
                <a:solidFill>
                  <a:srgbClr val="454545"/>
                </a:solidFill>
                <a:latin typeface="Arial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9" name="íŝlîḍé">
              <a:extLst>
                <a:ext uri="{FF2B5EF4-FFF2-40B4-BE49-F238E27FC236}">
                  <a16:creationId xmlns:a16="http://schemas.microsoft.com/office/drawing/2014/main" id="{007C3619-31C8-4E80-A2C4-F6ACF55A5238}"/>
                </a:ext>
              </a:extLst>
            </p:cNvPr>
            <p:cNvSpPr/>
            <p:nvPr/>
          </p:nvSpPr>
          <p:spPr bwMode="auto">
            <a:xfrm rot="19786663">
              <a:off x="4825438" y="2190333"/>
              <a:ext cx="1344461" cy="962684"/>
            </a:xfrm>
            <a:prstGeom prst="ellipse">
              <a:avLst/>
            </a:prstGeom>
            <a:solidFill>
              <a:srgbClr val="73BAFF">
                <a:alpha val="10393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1119362">
                <a:defRPr/>
              </a:pPr>
              <a:endParaRPr sz="2205">
                <a:solidFill>
                  <a:srgbClr val="454545"/>
                </a:solidFill>
                <a:latin typeface="Arial"/>
                <a:ea typeface="微软雅黑"/>
                <a:cs typeface="+mn-ea"/>
                <a:sym typeface="+mn-lt"/>
              </a:endParaRPr>
            </a:p>
          </p:txBody>
        </p:sp>
      </p:grpSp>
      <p:sp>
        <p:nvSpPr>
          <p:cNvPr id="11" name="文本框 10"/>
          <p:cNvSpPr txBox="1"/>
          <p:nvPr/>
        </p:nvSpPr>
        <p:spPr>
          <a:xfrm>
            <a:off x="5676900" y="2388394"/>
            <a:ext cx="334258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400" b="1" dirty="0" smtClean="0">
                <a:solidFill>
                  <a:schemeClr val="bg1"/>
                </a:solidFill>
                <a:cs typeface="+mn-ea"/>
                <a:sym typeface="+mn-lt"/>
              </a:rPr>
              <a:t>非常感谢！  </a:t>
            </a:r>
            <a:endParaRPr lang="en-US" altLang="zh-CN" sz="4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9051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index-banner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8162" y="1605828"/>
            <a:ext cx="4213227" cy="3745091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466220" y="452275"/>
            <a:ext cx="10021539" cy="5847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defTabSz="419943" fontAlgn="base">
              <a:spcBef>
                <a:spcPct val="0"/>
              </a:spcBef>
              <a:spcAft>
                <a:spcPct val="0"/>
              </a:spcAft>
              <a:defRPr sz="3200" b="1" cap="none" spc="0">
                <a:solidFill>
                  <a:schemeClr val="tx2"/>
                </a:solidFill>
                <a:ea typeface="+mj-ea"/>
                <a:cs typeface="+mn-ea"/>
              </a:defRPr>
            </a:lvl1pPr>
            <a:lvl2pPr defTabSz="419943" fontAlgn="base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defTabSz="419943" fontAlgn="base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defTabSz="419943" fontAlgn="base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defTabSz="419943" fontAlgn="base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19943" defTabSz="419943" fontAlgn="base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839885" defTabSz="419943" fontAlgn="base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259829" defTabSz="419943" fontAlgn="base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679772" defTabSz="419943" fontAlgn="base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目录</a:t>
            </a:r>
          </a:p>
        </p:txBody>
      </p:sp>
      <p:sp>
        <p:nvSpPr>
          <p:cNvPr id="12" name="矩形 11"/>
          <p:cNvSpPr/>
          <p:nvPr/>
        </p:nvSpPr>
        <p:spPr>
          <a:xfrm>
            <a:off x="4733315" y="1753666"/>
            <a:ext cx="5181600" cy="685800"/>
          </a:xfrm>
          <a:prstGeom prst="rect">
            <a:avLst/>
          </a:prstGeom>
          <a:solidFill>
            <a:srgbClr val="002C6C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 smtClean="0"/>
              <a:t>一、编码中心基本情况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4731310" y="2600242"/>
            <a:ext cx="5181600" cy="685800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 smtClean="0"/>
              <a:t>二、</a:t>
            </a:r>
            <a:r>
              <a:rPr lang="zh-CN" altLang="en-US" dirty="0" smtClean="0">
                <a:sym typeface="+mn-ea"/>
              </a:rPr>
              <a:t>商品条码及数据资源建设情况</a:t>
            </a:r>
            <a:endParaRPr lang="zh-CN" altLang="en-US" dirty="0">
              <a:sym typeface="+mn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736035" y="3446818"/>
            <a:ext cx="5181600" cy="685800"/>
          </a:xfrm>
          <a:prstGeom prst="rect">
            <a:avLst/>
          </a:prstGeom>
          <a:solidFill>
            <a:srgbClr val="00B6DE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 smtClean="0"/>
              <a:t>三、亟待完善的法务及合规内容</a:t>
            </a:r>
            <a:endParaRPr lang="zh-CN" altLang="en-US" dirty="0">
              <a:sym typeface="+mn-ea"/>
            </a:endParaRPr>
          </a:p>
        </p:txBody>
      </p:sp>
      <p:sp>
        <p:nvSpPr>
          <p:cNvPr id="9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10402869" y="5830549"/>
            <a:ext cx="303231" cy="183989"/>
          </a:xfrm>
        </p:spPr>
        <p:txBody>
          <a:bodyPr/>
          <a:lstStyle/>
          <a:p>
            <a:pPr defTabSz="1119787" fontAlgn="base">
              <a:spcAft>
                <a:spcPct val="0"/>
              </a:spcAft>
              <a:defRPr/>
            </a:pPr>
            <a:r>
              <a:rPr lang="en-GB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73825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index-banner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8162" y="1605828"/>
            <a:ext cx="4213227" cy="3745091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466220" y="452275"/>
            <a:ext cx="10021539" cy="5847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defTabSz="419943" fontAlgn="base">
              <a:spcBef>
                <a:spcPct val="0"/>
              </a:spcBef>
              <a:spcAft>
                <a:spcPct val="0"/>
              </a:spcAft>
              <a:defRPr sz="3200" b="1" cap="none" spc="0">
                <a:solidFill>
                  <a:schemeClr val="tx2"/>
                </a:solidFill>
                <a:ea typeface="+mj-ea"/>
                <a:cs typeface="+mn-ea"/>
              </a:defRPr>
            </a:lvl1pPr>
            <a:lvl2pPr defTabSz="419943" fontAlgn="base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defTabSz="419943" fontAlgn="base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defTabSz="419943" fontAlgn="base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defTabSz="419943" fontAlgn="base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19943" defTabSz="419943" fontAlgn="base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839885" defTabSz="419943" fontAlgn="base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259829" defTabSz="419943" fontAlgn="base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679772" defTabSz="419943" fontAlgn="base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目录</a:t>
            </a:r>
          </a:p>
        </p:txBody>
      </p:sp>
      <p:sp>
        <p:nvSpPr>
          <p:cNvPr id="12" name="矩形 11"/>
          <p:cNvSpPr/>
          <p:nvPr/>
        </p:nvSpPr>
        <p:spPr>
          <a:xfrm>
            <a:off x="4733315" y="1753666"/>
            <a:ext cx="5181600" cy="685800"/>
          </a:xfrm>
          <a:prstGeom prst="rect">
            <a:avLst/>
          </a:prstGeom>
          <a:solidFill>
            <a:srgbClr val="002C6C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 smtClean="0"/>
              <a:t>一、编码中心基本情况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4731310" y="2600242"/>
            <a:ext cx="5181600" cy="6858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 smtClean="0"/>
              <a:t>二、</a:t>
            </a:r>
            <a:r>
              <a:rPr lang="zh-CN" altLang="en-US" dirty="0" smtClean="0">
                <a:sym typeface="+mn-ea"/>
              </a:rPr>
              <a:t>商品条码及数据资源建设情况</a:t>
            </a:r>
            <a:endParaRPr lang="zh-CN" altLang="en-US" dirty="0">
              <a:sym typeface="+mn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736035" y="3446818"/>
            <a:ext cx="5181600" cy="6858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 smtClean="0"/>
              <a:t>三、</a:t>
            </a:r>
            <a:r>
              <a:rPr lang="zh-CN" altLang="en-US" dirty="0" smtClean="0">
                <a:sym typeface="+mn-ea"/>
              </a:rPr>
              <a:t>亟待完善的法务及合规内容</a:t>
            </a:r>
            <a:endParaRPr lang="zh-CN" altLang="en-US" dirty="0">
              <a:sym typeface="+mn-ea"/>
            </a:endParaRPr>
          </a:p>
        </p:txBody>
      </p:sp>
      <p:sp>
        <p:nvSpPr>
          <p:cNvPr id="17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10553700" y="5817394"/>
            <a:ext cx="303231" cy="183989"/>
          </a:xfrm>
          <a:prstGeom prst="rect">
            <a:avLst/>
          </a:prstGeo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z="1050" smtClean="0">
                <a:latin typeface="+mn-lt"/>
                <a:ea typeface="+mn-ea"/>
                <a:cs typeface="+mn-ea"/>
                <a:sym typeface="+mn-lt"/>
              </a:rPr>
              <a:pPr fontAlgn="base">
                <a:spcAft>
                  <a:spcPct val="0"/>
                </a:spcAft>
                <a:defRPr/>
              </a:pPr>
              <a:t>3</a:t>
            </a:fld>
            <a:endParaRPr lang="en-GB" sz="1050" dirty="0"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6602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>
                <a:latin typeface="+mn-lt"/>
                <a:ea typeface="+mn-ea"/>
                <a:cs typeface="+mn-ea"/>
                <a:sym typeface="+mn-lt"/>
              </a:rPr>
              <a:pPr fontAlgn="base">
                <a:spcAft>
                  <a:spcPct val="0"/>
                </a:spcAft>
                <a:defRPr/>
              </a:pPr>
              <a:t>4</a:t>
            </a:fld>
            <a:endParaRPr lang="en-GB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552573" y="1321594"/>
            <a:ext cx="10077328" cy="3867150"/>
            <a:chOff x="190500" y="1397794"/>
            <a:chExt cx="10744200" cy="3867150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576"/>
            <a:stretch/>
          </p:blipFill>
          <p:spPr>
            <a:xfrm>
              <a:off x="190500" y="1397794"/>
              <a:ext cx="4495800" cy="3867150"/>
            </a:xfrm>
            <a:prstGeom prst="rect">
              <a:avLst/>
            </a:prstGeom>
          </p:spPr>
        </p:pic>
        <p:sp>
          <p:nvSpPr>
            <p:cNvPr id="16" name="矩形 15"/>
            <p:cNvSpPr/>
            <p:nvPr/>
          </p:nvSpPr>
          <p:spPr>
            <a:xfrm>
              <a:off x="4686300" y="1397794"/>
              <a:ext cx="6248400" cy="3867150"/>
            </a:xfrm>
            <a:prstGeom prst="rect">
              <a:avLst/>
            </a:prstGeom>
            <a:solidFill>
              <a:srgbClr val="0078A9"/>
            </a:solidFill>
            <a:ln w="25400" cap="flat" cmpd="sng" algn="ctr">
              <a:noFill/>
              <a:prstDash val="solid"/>
            </a:ln>
          </p:spPr>
          <p:txBody>
            <a:bodyPr rtlCol="0" anchor="ctr"/>
            <a:lstStyle/>
            <a:p>
              <a:pPr marL="0" marR="0" indent="0" algn="ctr" defTabSz="91440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7" name="矩形 16"/>
            <p:cNvSpPr/>
            <p:nvPr/>
          </p:nvSpPr>
          <p:spPr>
            <a:xfrm>
              <a:off x="4904813" y="1626394"/>
              <a:ext cx="5867400" cy="3581400"/>
            </a:xfrm>
            <a:prstGeom prst="rect">
              <a:avLst/>
            </a:prstGeom>
            <a:solidFill>
              <a:schemeClr val="bg1">
                <a:alpha val="40000"/>
              </a:schemeClr>
            </a:solidFill>
            <a:ln w="25400" cap="flat" cmpd="sng" algn="ctr">
              <a:noFill/>
              <a:prstDash val="solid"/>
            </a:ln>
          </p:spPr>
          <p:txBody>
            <a:bodyPr rtlCol="0" anchor="ctr"/>
            <a:lstStyle/>
            <a:p>
              <a:pPr marL="0" marR="0" indent="0" algn="ctr" defTabSz="91440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4788185" y="1712251"/>
              <a:ext cx="5902787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4250"/>
              <a:r>
                <a:rPr lang="zh-CN" altLang="zh-CN" sz="1800" b="1" dirty="0">
                  <a:solidFill>
                    <a:schemeClr val="bg1"/>
                  </a:solidFill>
                  <a:cs typeface="+mn-ea"/>
                  <a:sym typeface="+mn-lt"/>
                </a:rPr>
                <a:t>中国物品编码中心</a:t>
              </a:r>
              <a:r>
                <a:rPr lang="zh-CN" altLang="zh-CN" sz="1800" dirty="0">
                  <a:solidFill>
                    <a:schemeClr val="bg1"/>
                  </a:solidFill>
                  <a:cs typeface="+mn-ea"/>
                  <a:sym typeface="+mn-lt"/>
                </a:rPr>
                <a:t>（</a:t>
              </a:r>
              <a:r>
                <a:rPr lang="zh-CN" altLang="zh-CN" sz="1800" dirty="0" smtClean="0">
                  <a:solidFill>
                    <a:schemeClr val="bg1"/>
                  </a:solidFill>
                  <a:cs typeface="+mn-ea"/>
                  <a:sym typeface="+mn-lt"/>
                </a:rPr>
                <a:t>简称编码中心）</a:t>
              </a:r>
              <a:r>
                <a:rPr lang="zh-CN" altLang="zh-CN" sz="1800" dirty="0">
                  <a:solidFill>
                    <a:schemeClr val="bg1"/>
                  </a:solidFill>
                  <a:cs typeface="+mn-ea"/>
                  <a:sym typeface="+mn-lt"/>
                </a:rPr>
                <a:t>是统一组织、协调、管理我国商品条码、物品编码与自动识别技术的专门机构，隶属于国家市场监督管理总局</a:t>
              </a:r>
              <a:r>
                <a:rPr lang="zh-CN" altLang="en-US" sz="1800" dirty="0" smtClean="0">
                  <a:solidFill>
                    <a:schemeClr val="bg1"/>
                  </a:solidFill>
                  <a:cs typeface="+mn-ea"/>
                  <a:sym typeface="+mn-lt"/>
                </a:rPr>
                <a:t>。</a:t>
              </a:r>
              <a:endParaRPr lang="en-US" altLang="zh-CN" sz="1800" dirty="0" smtClean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0" name="文本框 9"/>
          <p:cNvSpPr txBox="1"/>
          <p:nvPr/>
        </p:nvSpPr>
        <p:spPr>
          <a:xfrm>
            <a:off x="4991100" y="3828570"/>
            <a:ext cx="55366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>
                <a:solidFill>
                  <a:schemeClr val="bg1"/>
                </a:solidFill>
                <a:cs typeface="+mn-ea"/>
                <a:sym typeface="+mn-lt"/>
              </a:rPr>
              <a:t>1991</a:t>
            </a:r>
            <a:r>
              <a:rPr lang="zh-CN" altLang="zh-CN" sz="1800" dirty="0">
                <a:solidFill>
                  <a:schemeClr val="bg1"/>
                </a:solidFill>
                <a:cs typeface="+mn-ea"/>
                <a:sym typeface="+mn-lt"/>
              </a:rPr>
              <a:t>年</a:t>
            </a:r>
            <a:r>
              <a:rPr lang="en-US" altLang="zh-CN" sz="1800" dirty="0">
                <a:solidFill>
                  <a:schemeClr val="bg1"/>
                </a:solidFill>
                <a:cs typeface="+mn-ea"/>
                <a:sym typeface="+mn-lt"/>
              </a:rPr>
              <a:t>4</a:t>
            </a:r>
            <a:r>
              <a:rPr lang="zh-CN" altLang="zh-CN" sz="1800" dirty="0" smtClean="0">
                <a:solidFill>
                  <a:schemeClr val="bg1"/>
                </a:solidFill>
                <a:cs typeface="+mn-ea"/>
                <a:sym typeface="+mn-lt"/>
              </a:rPr>
              <a:t>月</a:t>
            </a:r>
            <a:r>
              <a:rPr lang="zh-CN" altLang="en-US" sz="1800" dirty="0">
                <a:solidFill>
                  <a:schemeClr val="bg1"/>
                </a:solidFill>
                <a:cs typeface="+mn-ea"/>
                <a:sym typeface="+mn-lt"/>
              </a:rPr>
              <a:t>，</a:t>
            </a:r>
            <a:r>
              <a:rPr lang="zh-CN" altLang="zh-CN" sz="1800" dirty="0" smtClean="0">
                <a:solidFill>
                  <a:schemeClr val="bg1"/>
                </a:solidFill>
                <a:cs typeface="+mn-ea"/>
                <a:sym typeface="+mn-lt"/>
              </a:rPr>
              <a:t>代表</a:t>
            </a:r>
            <a:r>
              <a:rPr lang="zh-CN" altLang="zh-CN" sz="1800" dirty="0">
                <a:solidFill>
                  <a:schemeClr val="bg1"/>
                </a:solidFill>
                <a:cs typeface="+mn-ea"/>
                <a:sym typeface="+mn-lt"/>
              </a:rPr>
              <a:t>我国加入国际物品编码组织（</a:t>
            </a:r>
            <a:r>
              <a:rPr lang="en-US" altLang="zh-CN" sz="1800" dirty="0">
                <a:solidFill>
                  <a:schemeClr val="bg1"/>
                </a:solidFill>
                <a:cs typeface="+mn-ea"/>
                <a:sym typeface="+mn-lt"/>
              </a:rPr>
              <a:t>GS1</a:t>
            </a:r>
            <a:r>
              <a:rPr lang="zh-CN" altLang="zh-CN" sz="1800" dirty="0" smtClean="0">
                <a:solidFill>
                  <a:schemeClr val="bg1"/>
                </a:solidFill>
                <a:cs typeface="+mn-ea"/>
                <a:sym typeface="+mn-lt"/>
              </a:rPr>
              <a:t>）负责</a:t>
            </a:r>
            <a:r>
              <a:rPr lang="zh-CN" altLang="zh-CN" sz="1800" dirty="0">
                <a:solidFill>
                  <a:schemeClr val="bg1"/>
                </a:solidFill>
                <a:cs typeface="+mn-ea"/>
                <a:sym typeface="+mn-lt"/>
              </a:rPr>
              <a:t>推广国际通用的、开放的、跨行业的全球</a:t>
            </a:r>
            <a:r>
              <a:rPr lang="zh-CN" altLang="zh-CN" sz="1800" dirty="0" smtClean="0">
                <a:solidFill>
                  <a:schemeClr val="bg1"/>
                </a:solidFill>
                <a:cs typeface="+mn-ea"/>
                <a:sym typeface="+mn-lt"/>
              </a:rPr>
              <a:t>统一标识</a:t>
            </a:r>
            <a:r>
              <a:rPr lang="zh-CN" altLang="zh-CN" sz="1800" dirty="0">
                <a:solidFill>
                  <a:schemeClr val="bg1"/>
                </a:solidFill>
                <a:cs typeface="+mn-ea"/>
                <a:sym typeface="+mn-lt"/>
              </a:rPr>
              <a:t>系统和供应链管理标准，向社会提供公共服</a:t>
            </a:r>
            <a:r>
              <a:rPr lang="zh-CN" altLang="en-US" sz="1800" dirty="0">
                <a:solidFill>
                  <a:schemeClr val="bg1"/>
                </a:solidFill>
                <a:cs typeface="+mn-ea"/>
                <a:sym typeface="+mn-lt"/>
              </a:rPr>
              <a:t>务</a:t>
            </a:r>
            <a:r>
              <a:rPr lang="zh-CN" altLang="zh-CN" sz="1800" dirty="0" smtClean="0">
                <a:solidFill>
                  <a:schemeClr val="bg1"/>
                </a:solidFill>
                <a:cs typeface="+mn-ea"/>
                <a:sym typeface="+mn-lt"/>
              </a:rPr>
              <a:t>平台和</a:t>
            </a:r>
            <a:r>
              <a:rPr lang="zh-CN" altLang="zh-CN" sz="1800" dirty="0">
                <a:solidFill>
                  <a:schemeClr val="bg1"/>
                </a:solidFill>
                <a:cs typeface="+mn-ea"/>
                <a:sym typeface="+mn-lt"/>
              </a:rPr>
              <a:t>标准化解决方案</a:t>
            </a:r>
            <a:r>
              <a:rPr lang="zh-CN" altLang="zh-CN" sz="1800" dirty="0" smtClean="0">
                <a:solidFill>
                  <a:schemeClr val="bg1"/>
                </a:solidFill>
                <a:cs typeface="+mn-ea"/>
                <a:sym typeface="+mn-lt"/>
              </a:rPr>
              <a:t>。</a:t>
            </a:r>
            <a:endParaRPr lang="en-US" altLang="zh-CN" sz="18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4914900" y="2617991"/>
            <a:ext cx="5592044" cy="1558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50"/>
            <a:r>
              <a:rPr lang="en-US" altLang="zh-CN" sz="1800" dirty="0">
                <a:solidFill>
                  <a:schemeClr val="bg1"/>
                </a:solidFill>
                <a:cs typeface="+mn-ea"/>
                <a:sym typeface="+mn-lt"/>
              </a:rPr>
              <a:t>1988</a:t>
            </a:r>
            <a:r>
              <a:rPr lang="zh-CN" altLang="zh-CN" sz="1800" dirty="0">
                <a:solidFill>
                  <a:schemeClr val="bg1"/>
                </a:solidFill>
                <a:cs typeface="+mn-ea"/>
                <a:sym typeface="+mn-lt"/>
              </a:rPr>
              <a:t>年</a:t>
            </a:r>
            <a:r>
              <a:rPr lang="en-US" altLang="zh-CN" sz="1800" dirty="0">
                <a:solidFill>
                  <a:schemeClr val="bg1"/>
                </a:solidFill>
                <a:cs typeface="+mn-ea"/>
                <a:sym typeface="+mn-lt"/>
              </a:rPr>
              <a:t>9</a:t>
            </a:r>
            <a:r>
              <a:rPr lang="zh-CN" altLang="zh-CN" sz="1800" dirty="0">
                <a:solidFill>
                  <a:schemeClr val="bg1"/>
                </a:solidFill>
                <a:cs typeface="+mn-ea"/>
                <a:sym typeface="+mn-lt"/>
              </a:rPr>
              <a:t>月，原国家技术监督局会同原国家科委、外交部和财政部，向国务院提交请示报告，提出成立中国物品编码中心，同年</a:t>
            </a:r>
            <a:r>
              <a:rPr lang="en-US" altLang="zh-CN" sz="1800" dirty="0">
                <a:solidFill>
                  <a:schemeClr val="bg1"/>
                </a:solidFill>
                <a:cs typeface="+mn-ea"/>
                <a:sym typeface="+mn-lt"/>
              </a:rPr>
              <a:t>12</a:t>
            </a:r>
            <a:r>
              <a:rPr lang="zh-CN" altLang="zh-CN" sz="1800" dirty="0">
                <a:solidFill>
                  <a:schemeClr val="bg1"/>
                </a:solidFill>
                <a:cs typeface="+mn-ea"/>
                <a:sym typeface="+mn-lt"/>
              </a:rPr>
              <a:t>月得到国务院批准，编码中心正式成立。</a:t>
            </a:r>
            <a:endParaRPr lang="en-US" altLang="zh-CN" sz="1800" dirty="0">
              <a:solidFill>
                <a:schemeClr val="bg1"/>
              </a:solidFill>
              <a:cs typeface="+mn-ea"/>
              <a:sym typeface="+mn-lt"/>
            </a:endParaRPr>
          </a:p>
          <a:p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3" name="标题 2"/>
          <p:cNvSpPr txBox="1">
            <a:spLocks/>
          </p:cNvSpPr>
          <p:nvPr/>
        </p:nvSpPr>
        <p:spPr bwMode="auto">
          <a:xfrm>
            <a:off x="571500" y="407194"/>
            <a:ext cx="10098829" cy="83256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 cap="none" spc="0">
                <a:solidFill>
                  <a:schemeClr val="tx2"/>
                </a:solidFill>
                <a:latin typeface="+mn-lt"/>
                <a:ea typeface="+mj-ea"/>
                <a:cs typeface="Verdana"/>
              </a:defRPr>
            </a:lvl1pPr>
            <a:lvl2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19943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839885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259829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679772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defTabSz="1183148"/>
            <a:r>
              <a:rPr lang="zh-CN" altLang="en-US" dirty="0" smtClean="0">
                <a:cs typeface="+mn-ea"/>
                <a:sym typeface="+mn-lt"/>
              </a:rPr>
              <a:t>中国物品编码中心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199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20140">
              <a:defRPr/>
            </a:pPr>
            <a:fld id="{9A0DB2DC-4C9A-4742-B13C-FB6460FD3503}" type="slidenum">
              <a:rPr lang="en-GB" altLang="zh-CN" sz="857">
                <a:latin typeface="+mn-lt"/>
                <a:cs typeface="+mn-ea"/>
                <a:sym typeface="+mn-lt"/>
              </a:rPr>
              <a:pPr defTabSz="1120140">
                <a:defRPr/>
              </a:pPr>
              <a:t>5</a:t>
            </a:fld>
            <a:endParaRPr lang="en-GB" altLang="zh-CN" sz="857" dirty="0">
              <a:latin typeface="+mn-lt"/>
              <a:cs typeface="+mn-ea"/>
              <a:sym typeface="+mn-lt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4294967295"/>
          </p:nvPr>
        </p:nvSpPr>
        <p:spPr>
          <a:xfrm>
            <a:off x="546250" y="1365350"/>
            <a:ext cx="10102652" cy="457002"/>
          </a:xfrm>
          <a:prstGeom prst="rect">
            <a:avLst/>
          </a:prstGeom>
        </p:spPr>
        <p:txBody>
          <a:bodyPr/>
          <a:lstStyle/>
          <a:p>
            <a:pPr marL="91011" indent="0">
              <a:buNone/>
            </a:pPr>
            <a:r>
              <a:rPr lang="zh-CN" altLang="en-US" sz="18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商品条码</a:t>
            </a:r>
            <a:r>
              <a:rPr lang="zh-CN" altLang="en-US" sz="1800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是</a:t>
            </a:r>
            <a:r>
              <a:rPr lang="zh-CN" altLang="en-US" sz="18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产品</a:t>
            </a:r>
            <a:r>
              <a:rPr lang="zh-CN" altLang="en-US" sz="1800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唯一</a:t>
            </a:r>
            <a:r>
              <a:rPr lang="zh-CN" altLang="en-US" sz="18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“身份证”和国际“通行证”</a:t>
            </a:r>
          </a:p>
        </p:txBody>
      </p:sp>
      <p:sp>
        <p:nvSpPr>
          <p:cNvPr id="29" name="矩形 28"/>
          <p:cNvSpPr/>
          <p:nvPr/>
        </p:nvSpPr>
        <p:spPr>
          <a:xfrm>
            <a:off x="717836" y="4897767"/>
            <a:ext cx="5260940" cy="402995"/>
          </a:xfrm>
          <a:prstGeom prst="rect">
            <a:avLst/>
          </a:prstGeom>
          <a:solidFill>
            <a:srgbClr val="002C6C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63008" algn="ctr" defTabSz="770874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38" b="1" dirty="0">
                <a:solidFill>
                  <a:srgbClr val="FFFFFF"/>
                </a:solidFill>
                <a:cs typeface="+mn-ea"/>
                <a:sym typeface="+mn-lt"/>
              </a:rPr>
              <a:t>分配规则：</a:t>
            </a:r>
            <a:r>
              <a:rPr lang="zh-CN" altLang="en-US" sz="1838" dirty="0">
                <a:solidFill>
                  <a:prstClr val="white"/>
                </a:solidFill>
                <a:cs typeface="+mn-ea"/>
                <a:sym typeface="+mn-lt"/>
              </a:rPr>
              <a:t>国际统一的分级管理，确保全球唯一</a:t>
            </a:r>
          </a:p>
        </p:txBody>
      </p:sp>
      <p:grpSp>
        <p:nvGrpSpPr>
          <p:cNvPr id="2064" name="组合 2063"/>
          <p:cNvGrpSpPr/>
          <p:nvPr/>
        </p:nvGrpSpPr>
        <p:grpSpPr>
          <a:xfrm>
            <a:off x="528058" y="1898933"/>
            <a:ext cx="5672430" cy="2862876"/>
            <a:chOff x="883237" y="1548764"/>
            <a:chExt cx="6174877" cy="3116462"/>
          </a:xfrm>
        </p:grpSpPr>
        <p:grpSp>
          <p:nvGrpSpPr>
            <p:cNvPr id="2058" name="组合 2057"/>
            <p:cNvGrpSpPr/>
            <p:nvPr/>
          </p:nvGrpSpPr>
          <p:grpSpPr>
            <a:xfrm>
              <a:off x="883237" y="1548764"/>
              <a:ext cx="6174877" cy="3116462"/>
              <a:chOff x="538626" y="1584228"/>
              <a:chExt cx="6174877" cy="3116462"/>
            </a:xfrm>
          </p:grpSpPr>
          <p:grpSp>
            <p:nvGrpSpPr>
              <p:cNvPr id="6" name="组合 1"/>
              <p:cNvGrpSpPr/>
              <p:nvPr/>
            </p:nvGrpSpPr>
            <p:grpSpPr>
              <a:xfrm>
                <a:off x="538626" y="1584228"/>
                <a:ext cx="6174877" cy="3116462"/>
                <a:chOff x="838200" y="1412635"/>
                <a:chExt cx="7467726" cy="3768965"/>
              </a:xfrm>
            </p:grpSpPr>
            <p:grpSp>
              <p:nvGrpSpPr>
                <p:cNvPr id="7" name="组合 32"/>
                <p:cNvGrpSpPr/>
                <p:nvPr/>
              </p:nvGrpSpPr>
              <p:grpSpPr>
                <a:xfrm>
                  <a:off x="838200" y="1412635"/>
                  <a:ext cx="7467726" cy="3768965"/>
                  <a:chOff x="838200" y="1412635"/>
                  <a:chExt cx="7467726" cy="3768965"/>
                </a:xfrm>
              </p:grpSpPr>
              <p:grpSp>
                <p:nvGrpSpPr>
                  <p:cNvPr id="12" name="组合 3"/>
                  <p:cNvGrpSpPr/>
                  <p:nvPr/>
                </p:nvGrpSpPr>
                <p:grpSpPr>
                  <a:xfrm>
                    <a:off x="838200" y="1412635"/>
                    <a:ext cx="7467726" cy="3768965"/>
                    <a:chOff x="990600" y="3350503"/>
                    <a:chExt cx="7467726" cy="3768965"/>
                  </a:xfrm>
                </p:grpSpPr>
                <p:grpSp>
                  <p:nvGrpSpPr>
                    <p:cNvPr id="14" name="组合 67"/>
                    <p:cNvGrpSpPr/>
                    <p:nvPr/>
                  </p:nvGrpSpPr>
                  <p:grpSpPr>
                    <a:xfrm>
                      <a:off x="990600" y="4223868"/>
                      <a:ext cx="7467726" cy="2895600"/>
                      <a:chOff x="637800" y="4757268"/>
                      <a:chExt cx="7467726" cy="2895600"/>
                    </a:xfrm>
                  </p:grpSpPr>
                  <p:sp>
                    <p:nvSpPr>
                      <p:cNvPr id="18" name="圆角矩形 11"/>
                      <p:cNvSpPr/>
                      <p:nvPr/>
                    </p:nvSpPr>
                    <p:spPr>
                      <a:xfrm>
                        <a:off x="637800" y="6509868"/>
                        <a:ext cx="1371600" cy="685800"/>
                      </a:xfrm>
                      <a:prstGeom prst="roundRect">
                        <a:avLst/>
                      </a:prstGeom>
                      <a:noFill/>
                      <a:ln w="25400">
                        <a:noFill/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770874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/>
                        </a:pPr>
                        <a:r>
                          <a:rPr lang="zh-CN" altLang="en-US" sz="1519" b="1" dirty="0">
                            <a:solidFill>
                              <a:srgbClr val="0070C0"/>
                            </a:solidFill>
                            <a:cs typeface="+mn-ea"/>
                            <a:sym typeface="+mn-lt"/>
                          </a:rPr>
                          <a:t>二级</a:t>
                        </a:r>
                      </a:p>
                    </p:txBody>
                  </p:sp>
                  <p:sp>
                    <p:nvSpPr>
                      <p:cNvPr id="19" name="圆角矩形 12"/>
                      <p:cNvSpPr/>
                      <p:nvPr/>
                    </p:nvSpPr>
                    <p:spPr>
                      <a:xfrm>
                        <a:off x="637800" y="7043268"/>
                        <a:ext cx="1371600" cy="609600"/>
                      </a:xfrm>
                      <a:prstGeom prst="roundRect">
                        <a:avLst/>
                      </a:prstGeom>
                      <a:noFill/>
                      <a:ln w="25400">
                        <a:noFill/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770874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/>
                        </a:pPr>
                        <a:r>
                          <a:rPr lang="zh-CN" altLang="en-US" sz="1519" b="1" dirty="0">
                            <a:solidFill>
                              <a:srgbClr val="FF8200"/>
                            </a:solidFill>
                            <a:cs typeface="+mn-ea"/>
                            <a:sym typeface="+mn-lt"/>
                          </a:rPr>
                          <a:t>三级</a:t>
                        </a:r>
                      </a:p>
                    </p:txBody>
                  </p:sp>
                  <p:sp>
                    <p:nvSpPr>
                      <p:cNvPr id="20" name="圆角矩形 13"/>
                      <p:cNvSpPr/>
                      <p:nvPr/>
                    </p:nvSpPr>
                    <p:spPr>
                      <a:xfrm>
                        <a:off x="6276600" y="6281268"/>
                        <a:ext cx="1828926" cy="685800"/>
                      </a:xfrm>
                      <a:prstGeom prst="roundRect">
                        <a:avLst/>
                      </a:prstGeom>
                      <a:noFill/>
                      <a:ln w="25400">
                        <a:noFill/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770874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/>
                        </a:pPr>
                        <a:r>
                          <a:rPr lang="zh-CN" altLang="en-US" sz="1348" dirty="0">
                            <a:solidFill>
                              <a:srgbClr val="00B74F"/>
                            </a:solidFill>
                            <a:cs typeface="+mn-ea"/>
                            <a:sym typeface="+mn-lt"/>
                          </a:rPr>
                          <a:t>标准算法计算</a:t>
                        </a:r>
                      </a:p>
                    </p:txBody>
                  </p:sp>
                  <p:sp>
                    <p:nvSpPr>
                      <p:cNvPr id="21" name="圆角矩形 14"/>
                      <p:cNvSpPr/>
                      <p:nvPr/>
                    </p:nvSpPr>
                    <p:spPr>
                      <a:xfrm>
                        <a:off x="637800" y="5976468"/>
                        <a:ext cx="1371600" cy="685800"/>
                      </a:xfrm>
                      <a:prstGeom prst="roundRect">
                        <a:avLst/>
                      </a:prstGeom>
                      <a:noFill/>
                      <a:ln w="25400">
                        <a:noFill/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770874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/>
                        </a:pPr>
                        <a:r>
                          <a:rPr lang="zh-CN" altLang="en-US" sz="1691" b="1" dirty="0">
                            <a:solidFill>
                              <a:srgbClr val="FF0000"/>
                            </a:solidFill>
                            <a:cs typeface="+mn-ea"/>
                            <a:sym typeface="+mn-lt"/>
                          </a:rPr>
                          <a:t>一级</a:t>
                        </a:r>
                      </a:p>
                    </p:txBody>
                  </p:sp>
                  <p:cxnSp>
                    <p:nvCxnSpPr>
                      <p:cNvPr id="22" name="肘形连接符 15"/>
                      <p:cNvCxnSpPr/>
                      <p:nvPr/>
                    </p:nvCxnSpPr>
                    <p:spPr>
                      <a:xfrm rot="10800000" flipV="1">
                        <a:off x="1752600" y="5938367"/>
                        <a:ext cx="1600200" cy="419100"/>
                      </a:xfrm>
                      <a:prstGeom prst="bentConnector3">
                        <a:avLst>
                          <a:gd name="adj1" fmla="val 376"/>
                        </a:avLst>
                      </a:prstGeom>
                      <a:ln>
                        <a:solidFill>
                          <a:srgbClr val="FF0000"/>
                        </a:solidFill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23" name="肘形连接符 16"/>
                      <p:cNvCxnSpPr/>
                      <p:nvPr/>
                    </p:nvCxnSpPr>
                    <p:spPr>
                      <a:xfrm rot="10800000" flipV="1">
                        <a:off x="1781400" y="5481012"/>
                        <a:ext cx="2694600" cy="1371756"/>
                      </a:xfrm>
                      <a:prstGeom prst="bentConnector3">
                        <a:avLst>
                          <a:gd name="adj1" fmla="val -372"/>
                        </a:avLst>
                      </a:prstGeom>
                      <a:ln>
                        <a:solidFill>
                          <a:srgbClr val="0070C0"/>
                        </a:solidFill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24" name="肘形连接符 17"/>
                      <p:cNvCxnSpPr/>
                      <p:nvPr/>
                    </p:nvCxnSpPr>
                    <p:spPr>
                      <a:xfrm rot="10800000" flipV="1">
                        <a:off x="1781401" y="4757268"/>
                        <a:ext cx="4605491" cy="2590800"/>
                      </a:xfrm>
                      <a:prstGeom prst="bentConnector3">
                        <a:avLst>
                          <a:gd name="adj1" fmla="val 6258"/>
                        </a:avLst>
                      </a:prstGeom>
                      <a:ln>
                        <a:solidFill>
                          <a:srgbClr val="FF8200"/>
                        </a:solidFill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25" name="直接连接符 18"/>
                      <p:cNvCxnSpPr/>
                      <p:nvPr/>
                    </p:nvCxnSpPr>
                    <p:spPr>
                      <a:xfrm>
                        <a:off x="7121968" y="5895918"/>
                        <a:ext cx="0" cy="504000"/>
                      </a:xfrm>
                      <a:prstGeom prst="line">
                        <a:avLst/>
                      </a:prstGeom>
                      <a:ln>
                        <a:solidFill>
                          <a:srgbClr val="00B74F"/>
                        </a:solidFill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26" name="矩形 19"/>
                      <p:cNvSpPr/>
                      <p:nvPr/>
                    </p:nvSpPr>
                    <p:spPr>
                      <a:xfrm>
                        <a:off x="1704600" y="6433668"/>
                        <a:ext cx="2771400" cy="439010"/>
                      </a:xfrm>
                      <a:prstGeom prst="rect">
                        <a:avLst/>
                      </a:prstGeom>
                      <a:noFill/>
                      <a:ln w="25400">
                        <a:noFill/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770874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/>
                        </a:pPr>
                        <a:r>
                          <a:rPr lang="zh-CN" altLang="en-US" sz="1348" dirty="0">
                            <a:solidFill>
                              <a:srgbClr val="454545"/>
                            </a:solidFill>
                            <a:cs typeface="+mn-ea"/>
                            <a:sym typeface="+mn-lt"/>
                          </a:rPr>
                          <a:t>国家</a:t>
                        </a:r>
                        <a:r>
                          <a:rPr lang="en-US" altLang="zh-CN" sz="1348" dirty="0">
                            <a:solidFill>
                              <a:srgbClr val="454545"/>
                            </a:solidFill>
                            <a:cs typeface="+mn-ea"/>
                            <a:sym typeface="+mn-lt"/>
                          </a:rPr>
                          <a:t>/</a:t>
                        </a:r>
                        <a:r>
                          <a:rPr lang="zh-CN" altLang="en-US" sz="1348" dirty="0">
                            <a:solidFill>
                              <a:srgbClr val="454545"/>
                            </a:solidFill>
                            <a:cs typeface="+mn-ea"/>
                            <a:sym typeface="+mn-lt"/>
                          </a:rPr>
                          <a:t>地区编码组织分配</a:t>
                        </a:r>
                      </a:p>
                    </p:txBody>
                  </p:sp>
                  <p:sp>
                    <p:nvSpPr>
                      <p:cNvPr id="27" name="矩形 20"/>
                      <p:cNvSpPr/>
                      <p:nvPr/>
                    </p:nvSpPr>
                    <p:spPr>
                      <a:xfrm>
                        <a:off x="1704600" y="6967067"/>
                        <a:ext cx="3516142" cy="434755"/>
                      </a:xfrm>
                      <a:prstGeom prst="rect">
                        <a:avLst/>
                      </a:prstGeom>
                      <a:noFill/>
                      <a:ln w="25400">
                        <a:noFill/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770874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/>
                        </a:pPr>
                        <a:r>
                          <a:rPr lang="zh-CN" altLang="en-US" sz="1348" dirty="0">
                            <a:solidFill>
                              <a:srgbClr val="454545"/>
                            </a:solidFill>
                            <a:cs typeface="+mn-ea"/>
                            <a:sym typeface="+mn-lt"/>
                          </a:rPr>
                          <a:t>商品条码系统成员企业自己分配</a:t>
                        </a:r>
                      </a:p>
                    </p:txBody>
                  </p:sp>
                  <p:sp>
                    <p:nvSpPr>
                      <p:cNvPr id="28" name="矩形 10"/>
                      <p:cNvSpPr/>
                      <p:nvPr/>
                    </p:nvSpPr>
                    <p:spPr>
                      <a:xfrm>
                        <a:off x="1781401" y="5908746"/>
                        <a:ext cx="1600200" cy="533400"/>
                      </a:xfrm>
                      <a:prstGeom prst="rect">
                        <a:avLst/>
                      </a:prstGeom>
                      <a:noFill/>
                      <a:ln w="25400">
                        <a:noFill/>
                      </a:ln>
                      <a:effectLst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 defTabSz="770874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/>
                        </a:pPr>
                        <a:r>
                          <a:rPr lang="zh-CN" altLang="en-US" sz="1348" dirty="0">
                            <a:solidFill>
                              <a:srgbClr val="454545"/>
                            </a:solidFill>
                            <a:cs typeface="+mn-ea"/>
                            <a:sym typeface="+mn-lt"/>
                          </a:rPr>
                          <a:t>由</a:t>
                        </a:r>
                        <a:r>
                          <a:rPr lang="en-US" altLang="zh-CN" sz="1348" dirty="0">
                            <a:solidFill>
                              <a:srgbClr val="454545"/>
                            </a:solidFill>
                            <a:cs typeface="+mn-ea"/>
                            <a:sym typeface="+mn-lt"/>
                          </a:rPr>
                          <a:t>GS1</a:t>
                        </a:r>
                        <a:r>
                          <a:rPr lang="zh-CN" altLang="en-US" sz="1348" dirty="0">
                            <a:solidFill>
                              <a:srgbClr val="454545"/>
                            </a:solidFill>
                            <a:cs typeface="+mn-ea"/>
                            <a:sym typeface="+mn-lt"/>
                          </a:rPr>
                          <a:t> 分配</a:t>
                        </a:r>
                      </a:p>
                    </p:txBody>
                  </p:sp>
                </p:grpSp>
                <p:pic>
                  <p:nvPicPr>
                    <p:cNvPr id="16" name="Picture 5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3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1790226" y="3350503"/>
                      <a:ext cx="6077144" cy="2179389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</p:grpSp>
              <p:sp>
                <p:nvSpPr>
                  <p:cNvPr id="13" name="矩形 31"/>
                  <p:cNvSpPr/>
                  <p:nvPr/>
                </p:nvSpPr>
                <p:spPr>
                  <a:xfrm>
                    <a:off x="2453439" y="3200400"/>
                    <a:ext cx="5395161" cy="76200"/>
                  </a:xfrm>
                  <a:prstGeom prst="rect">
                    <a:avLst/>
                  </a:prstGeom>
                  <a:solidFill>
                    <a:schemeClr val="bg1"/>
                  </a:solidFill>
                  <a:ln w="25400">
                    <a:solidFill>
                      <a:schemeClr val="bg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770874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1519">
                      <a:solidFill>
                        <a:prstClr val="white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cxnSp>
              <p:nvCxnSpPr>
                <p:cNvPr id="8" name="直接连接符 34"/>
                <p:cNvCxnSpPr/>
                <p:nvPr/>
              </p:nvCxnSpPr>
              <p:spPr>
                <a:xfrm>
                  <a:off x="2971800" y="3253596"/>
                  <a:ext cx="1066800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" name="直接连接符 40"/>
                <p:cNvCxnSpPr/>
                <p:nvPr/>
              </p:nvCxnSpPr>
              <p:spPr>
                <a:xfrm>
                  <a:off x="4133843" y="3253596"/>
                  <a:ext cx="1204167" cy="0"/>
                </a:xfrm>
                <a:prstGeom prst="line">
                  <a:avLst/>
                </a:prstGeom>
                <a:ln>
                  <a:solidFill>
                    <a:srgbClr val="0070C0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" name="直接连接符 42"/>
                <p:cNvCxnSpPr/>
                <p:nvPr/>
              </p:nvCxnSpPr>
              <p:spPr>
                <a:xfrm>
                  <a:off x="5421142" y="3253596"/>
                  <a:ext cx="1524000" cy="0"/>
                </a:xfrm>
                <a:prstGeom prst="line">
                  <a:avLst/>
                </a:prstGeom>
                <a:ln>
                  <a:solidFill>
                    <a:srgbClr val="FF8200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" name="直接连接符 44"/>
                <p:cNvCxnSpPr/>
                <p:nvPr/>
              </p:nvCxnSpPr>
              <p:spPr>
                <a:xfrm>
                  <a:off x="7060226" y="3253596"/>
                  <a:ext cx="304801" cy="0"/>
                </a:xfrm>
                <a:prstGeom prst="line">
                  <a:avLst/>
                </a:prstGeom>
                <a:ln>
                  <a:solidFill>
                    <a:srgbClr val="00B74F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057" name="矩形 2056"/>
              <p:cNvSpPr/>
              <p:nvPr/>
            </p:nvSpPr>
            <p:spPr>
              <a:xfrm>
                <a:off x="1121373" y="1584228"/>
                <a:ext cx="1181474" cy="1108966"/>
              </a:xfrm>
              <a:prstGeom prst="rect">
                <a:avLst/>
              </a:prstGeom>
              <a:solidFill>
                <a:schemeClr val="bg1"/>
              </a:solidFill>
              <a:ln w="254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20140">
                  <a:defRPr/>
                </a:pPr>
                <a:endParaRPr lang="zh-CN" altLang="en-US" sz="1654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34" name="TextBox 9"/>
            <p:cNvSpPr txBox="1"/>
            <p:nvPr/>
          </p:nvSpPr>
          <p:spPr>
            <a:xfrm>
              <a:off x="1328763" y="2660092"/>
              <a:ext cx="896087" cy="38375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7708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691" dirty="0">
                  <a:solidFill>
                    <a:srgbClr val="FF0000"/>
                  </a:solidFill>
                  <a:cs typeface="+mn-ea"/>
                  <a:sym typeface="+mn-lt"/>
                </a:rPr>
                <a:t>编码</a:t>
              </a:r>
            </a:p>
          </p:txBody>
        </p:sp>
        <p:sp>
          <p:nvSpPr>
            <p:cNvPr id="45" name="TextBox 9"/>
            <p:cNvSpPr txBox="1"/>
            <p:nvPr/>
          </p:nvSpPr>
          <p:spPr>
            <a:xfrm>
              <a:off x="1328763" y="2057688"/>
              <a:ext cx="787869" cy="38375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77087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691" dirty="0">
                  <a:solidFill>
                    <a:srgbClr val="FF0000"/>
                  </a:solidFill>
                  <a:cs typeface="+mn-ea"/>
                  <a:sym typeface="+mn-lt"/>
                </a:rPr>
                <a:t>条码</a:t>
              </a:r>
            </a:p>
          </p:txBody>
        </p:sp>
        <p:cxnSp>
          <p:nvCxnSpPr>
            <p:cNvPr id="2060" name="直接箭头连接符 2059"/>
            <p:cNvCxnSpPr/>
            <p:nvPr/>
          </p:nvCxnSpPr>
          <p:spPr>
            <a:xfrm>
              <a:off x="1974856" y="2270586"/>
              <a:ext cx="640209" cy="6512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箭头连接符 48"/>
            <p:cNvCxnSpPr/>
            <p:nvPr/>
          </p:nvCxnSpPr>
          <p:spPr>
            <a:xfrm flipV="1">
              <a:off x="1985215" y="2870058"/>
              <a:ext cx="487961" cy="1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组合 16"/>
          <p:cNvGrpSpPr/>
          <p:nvPr/>
        </p:nvGrpSpPr>
        <p:grpSpPr>
          <a:xfrm>
            <a:off x="6382038" y="1314845"/>
            <a:ext cx="4127635" cy="4103487"/>
            <a:chOff x="5165319" y="981478"/>
            <a:chExt cx="3369498" cy="3349785"/>
          </a:xfrm>
        </p:grpSpPr>
        <p:grpSp>
          <p:nvGrpSpPr>
            <p:cNvPr id="2056" name="组合 2055"/>
            <p:cNvGrpSpPr/>
            <p:nvPr/>
          </p:nvGrpSpPr>
          <p:grpSpPr>
            <a:xfrm>
              <a:off x="5165319" y="981478"/>
              <a:ext cx="3369498" cy="3349785"/>
              <a:chOff x="6420922" y="258946"/>
              <a:chExt cx="4493248" cy="4466961"/>
            </a:xfrm>
          </p:grpSpPr>
          <p:grpSp>
            <p:nvGrpSpPr>
              <p:cNvPr id="2054" name="组合 2053"/>
              <p:cNvGrpSpPr/>
              <p:nvPr/>
            </p:nvGrpSpPr>
            <p:grpSpPr>
              <a:xfrm>
                <a:off x="6423401" y="883159"/>
                <a:ext cx="4490769" cy="3842748"/>
                <a:chOff x="7693491" y="1315531"/>
                <a:chExt cx="4490769" cy="3842748"/>
              </a:xfrm>
            </p:grpSpPr>
            <p:pic>
              <p:nvPicPr>
                <p:cNvPr id="2052" name="图片 2051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693491" y="1315531"/>
                  <a:ext cx="2194771" cy="3842748"/>
                </a:xfrm>
                <a:prstGeom prst="rect">
                  <a:avLst/>
                </a:prstGeom>
              </p:spPr>
            </p:pic>
            <p:pic>
              <p:nvPicPr>
                <p:cNvPr id="2053" name="图片 2052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9966706" y="1315531"/>
                  <a:ext cx="2217554" cy="3842748"/>
                </a:xfrm>
                <a:prstGeom prst="rect">
                  <a:avLst/>
                </a:prstGeom>
              </p:spPr>
            </p:pic>
          </p:grpSp>
          <p:sp>
            <p:nvSpPr>
              <p:cNvPr id="2055" name="矩形 2054"/>
              <p:cNvSpPr/>
              <p:nvPr/>
            </p:nvSpPr>
            <p:spPr>
              <a:xfrm>
                <a:off x="6420922" y="258946"/>
                <a:ext cx="4376792" cy="6547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1120140">
                  <a:defRPr/>
                </a:pPr>
                <a:r>
                  <a:rPr lang="zh-CN" altLang="en-US" sz="1654" dirty="0">
                    <a:solidFill>
                      <a:srgbClr val="454545"/>
                    </a:solidFill>
                    <a:cs typeface="+mn-ea"/>
                    <a:sym typeface="+mn-lt"/>
                  </a:rPr>
                  <a:t>各编码组织所在国家/地区商品条码</a:t>
                </a:r>
                <a:endParaRPr lang="en-US" altLang="zh-CN" sz="1654" dirty="0">
                  <a:solidFill>
                    <a:srgbClr val="454545"/>
                  </a:solidFill>
                  <a:cs typeface="+mn-ea"/>
                  <a:sym typeface="+mn-lt"/>
                </a:endParaRPr>
              </a:p>
              <a:p>
                <a:pPr algn="ctr" defTabSz="1120140">
                  <a:defRPr/>
                </a:pPr>
                <a:r>
                  <a:rPr lang="zh-CN" altLang="en-US" sz="1654" dirty="0">
                    <a:solidFill>
                      <a:srgbClr val="454545"/>
                    </a:solidFill>
                    <a:cs typeface="+mn-ea"/>
                    <a:sym typeface="+mn-lt"/>
                  </a:rPr>
                  <a:t>前缀码（节选）</a:t>
                </a:r>
              </a:p>
            </p:txBody>
          </p:sp>
        </p:grpSp>
        <p:sp>
          <p:nvSpPr>
            <p:cNvPr id="2071" name="圆角矩形 2070"/>
            <p:cNvSpPr/>
            <p:nvPr/>
          </p:nvSpPr>
          <p:spPr>
            <a:xfrm>
              <a:off x="6914845" y="3921676"/>
              <a:ext cx="553428" cy="175477"/>
            </a:xfrm>
            <a:prstGeom prst="roundRect">
              <a:avLst/>
            </a:prstGeom>
            <a:solidFill>
              <a:srgbClr val="F26334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20140">
                <a:defRPr/>
              </a:pPr>
              <a:r>
                <a:rPr lang="en-US" altLang="zh-CN" sz="857" dirty="0">
                  <a:solidFill>
                    <a:srgbClr val="F26334"/>
                  </a:solidFill>
                  <a:cs typeface="+mn-ea"/>
                  <a:sym typeface="+mn-lt"/>
                </a:rPr>
                <a:t>680-689</a:t>
              </a:r>
              <a:endParaRPr lang="zh-CN" altLang="en-US" sz="857" dirty="0">
                <a:solidFill>
                  <a:srgbClr val="F26334"/>
                </a:solidFill>
                <a:cs typeface="+mn-ea"/>
                <a:sym typeface="+mn-lt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6914845" y="4128072"/>
              <a:ext cx="553428" cy="175477"/>
            </a:xfrm>
            <a:prstGeom prst="roundRect">
              <a:avLst/>
            </a:prstGeom>
            <a:solidFill>
              <a:srgbClr val="F26334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20140">
                <a:defRPr/>
              </a:pPr>
              <a:r>
                <a:rPr lang="en-US" altLang="zh-CN" sz="857" dirty="0">
                  <a:solidFill>
                    <a:srgbClr val="F26334"/>
                  </a:solidFill>
                  <a:cs typeface="+mn-ea"/>
                  <a:sym typeface="+mn-lt"/>
                </a:rPr>
                <a:t>690-699</a:t>
              </a:r>
              <a:endParaRPr lang="zh-CN" altLang="en-US" sz="857" dirty="0">
                <a:solidFill>
                  <a:srgbClr val="F26334"/>
                </a:solidFill>
                <a:cs typeface="+mn-ea"/>
                <a:sym typeface="+mn-lt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7485534" y="3921675"/>
              <a:ext cx="1029302" cy="381874"/>
            </a:xfrm>
            <a:prstGeom prst="roundRect">
              <a:avLst/>
            </a:prstGeom>
            <a:solidFill>
              <a:srgbClr val="F26334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120140">
                <a:defRPr/>
              </a:pPr>
              <a:r>
                <a:rPr lang="zh-CN" altLang="en-US" sz="1286" dirty="0">
                  <a:solidFill>
                    <a:prstClr val="white"/>
                  </a:solidFill>
                  <a:cs typeface="+mn-ea"/>
                  <a:sym typeface="+mn-lt"/>
                </a:rPr>
                <a:t>中国</a:t>
              </a: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6813041" y="3944753"/>
              <a:ext cx="752120" cy="152400"/>
            </a:xfrm>
            <a:prstGeom prst="roundRect">
              <a:avLst/>
            </a:prstGeom>
            <a:noFill/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20140">
                <a:defRPr/>
              </a:pPr>
              <a:r>
                <a:rPr lang="en-US" altLang="zh-CN" sz="980" dirty="0">
                  <a:solidFill>
                    <a:prstClr val="white"/>
                  </a:solidFill>
                  <a:cs typeface="+mn-ea"/>
                  <a:sym typeface="+mn-lt"/>
                </a:rPr>
                <a:t>680-689</a:t>
              </a:r>
              <a:endParaRPr lang="zh-CN" altLang="en-US" sz="980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6813041" y="4151149"/>
              <a:ext cx="752120" cy="152400"/>
            </a:xfrm>
            <a:prstGeom prst="roundRect">
              <a:avLst/>
            </a:prstGeom>
            <a:noFill/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20140">
                <a:defRPr/>
              </a:pPr>
              <a:r>
                <a:rPr lang="en-US" altLang="zh-CN" sz="980" dirty="0">
                  <a:solidFill>
                    <a:prstClr val="white"/>
                  </a:solidFill>
                  <a:cs typeface="+mn-ea"/>
                  <a:sym typeface="+mn-lt"/>
                </a:rPr>
                <a:t>690-699</a:t>
              </a:r>
              <a:endParaRPr lang="zh-CN" altLang="en-US" sz="980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0" name="标题 2"/>
          <p:cNvSpPr txBox="1">
            <a:spLocks/>
          </p:cNvSpPr>
          <p:nvPr/>
        </p:nvSpPr>
        <p:spPr bwMode="auto">
          <a:xfrm>
            <a:off x="571500" y="407194"/>
            <a:ext cx="10098829" cy="83256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 cap="none" spc="0">
                <a:solidFill>
                  <a:schemeClr val="tx2"/>
                </a:solidFill>
                <a:latin typeface="+mn-lt"/>
                <a:ea typeface="+mj-ea"/>
                <a:cs typeface="Verdana"/>
              </a:defRPr>
            </a:lvl1pPr>
            <a:lvl2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19943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839885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259829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679772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defTabSz="1183148"/>
            <a:r>
              <a:rPr lang="zh-CN" altLang="en-US" dirty="0">
                <a:cs typeface="+mn-ea"/>
                <a:sym typeface="+mn-lt"/>
              </a:rPr>
              <a:t>商品条码及分配规则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61771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2334" y="3601906"/>
            <a:ext cx="2859368" cy="1388575"/>
          </a:xfrm>
          <a:prstGeom prst="rect">
            <a:avLst/>
          </a:prstGeom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>
                <a:latin typeface="+mn-lt"/>
                <a:cs typeface="+mn-ea"/>
                <a:sym typeface="+mn-lt"/>
              </a:rPr>
              <a:pPr fontAlgn="base">
                <a:spcAft>
                  <a:spcPct val="0"/>
                </a:spcAft>
                <a:defRPr/>
              </a:pPr>
              <a:t>6</a:t>
            </a:fld>
            <a:endParaRPr lang="en-GB" noProof="0">
              <a:latin typeface="+mn-lt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874932" y="1556328"/>
            <a:ext cx="5602568" cy="1860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956" defTabSz="560015" fontAlgn="base">
              <a:lnSpc>
                <a:spcPct val="110000"/>
              </a:lnSpc>
              <a:spcBef>
                <a:spcPts val="490"/>
              </a:spcBef>
              <a:spcAft>
                <a:spcPct val="0"/>
              </a:spcAft>
              <a:buClr>
                <a:srgbClr val="F26334"/>
              </a:buClr>
            </a:pPr>
            <a:r>
              <a:rPr lang="en-US" altLang="zh-CN" sz="1715" dirty="0">
                <a:solidFill>
                  <a:srgbClr val="002C6C"/>
                </a:solidFill>
                <a:cs typeface="+mn-ea"/>
                <a:sym typeface="+mn-lt"/>
              </a:rPr>
              <a:t>EAN-13</a:t>
            </a:r>
            <a:r>
              <a:rPr lang="zh-CN" altLang="en-US" sz="1715" dirty="0">
                <a:solidFill>
                  <a:srgbClr val="002C6C"/>
                </a:solidFill>
                <a:cs typeface="+mn-ea"/>
                <a:sym typeface="+mn-lt"/>
              </a:rPr>
              <a:t>条码主要应用于快速消费品领域，使用最广。其编码结构为：</a:t>
            </a:r>
            <a:endParaRPr lang="en-US" altLang="zh-CN" sz="1470" dirty="0">
              <a:solidFill>
                <a:srgbClr val="002C6C"/>
              </a:solidFill>
              <a:cs typeface="+mn-ea"/>
              <a:sym typeface="+mn-lt"/>
            </a:endParaRPr>
          </a:p>
          <a:p>
            <a:pPr marL="441000" indent="-350044" defTabSz="560015" fontAlgn="base">
              <a:lnSpc>
                <a:spcPct val="110000"/>
              </a:lnSpc>
              <a:spcBef>
                <a:spcPts val="490"/>
              </a:spcBef>
              <a:spcAft>
                <a:spcPct val="0"/>
              </a:spcAft>
              <a:buClr>
                <a:srgbClr val="F26334"/>
              </a:buClr>
              <a:buFont typeface="Wingdings" pitchFamily="2" charset="2"/>
              <a:buChar char="ü"/>
            </a:pPr>
            <a:r>
              <a:rPr lang="zh-CN" altLang="en-US" sz="1470" dirty="0">
                <a:solidFill>
                  <a:srgbClr val="FF8200"/>
                </a:solidFill>
                <a:cs typeface="+mn-ea"/>
                <a:sym typeface="+mn-lt"/>
              </a:rPr>
              <a:t>厂商识别代码</a:t>
            </a:r>
            <a:r>
              <a:rPr lang="zh-CN" altLang="en-US" sz="1470" dirty="0">
                <a:solidFill>
                  <a:srgbClr val="002C6C"/>
                </a:solidFill>
                <a:cs typeface="+mn-ea"/>
                <a:sym typeface="+mn-lt"/>
              </a:rPr>
              <a:t>：由各地编码组织分配。在中国大陆，中国物品编码中心负责分配和管理。由</a:t>
            </a:r>
            <a:r>
              <a:rPr lang="en-US" altLang="zh-CN" sz="1470" dirty="0">
                <a:solidFill>
                  <a:srgbClr val="002C6C"/>
                </a:solidFill>
                <a:cs typeface="+mn-ea"/>
                <a:sym typeface="+mn-lt"/>
              </a:rPr>
              <a:t>7</a:t>
            </a:r>
            <a:r>
              <a:rPr lang="zh-CN" altLang="en-US" sz="1470" dirty="0">
                <a:solidFill>
                  <a:srgbClr val="002C6C"/>
                </a:solidFill>
                <a:cs typeface="+mn-ea"/>
                <a:sym typeface="+mn-lt"/>
              </a:rPr>
              <a:t>～</a:t>
            </a:r>
            <a:r>
              <a:rPr lang="en-US" altLang="zh-CN" sz="1470" dirty="0">
                <a:solidFill>
                  <a:srgbClr val="002C6C"/>
                </a:solidFill>
                <a:cs typeface="+mn-ea"/>
                <a:sym typeface="+mn-lt"/>
              </a:rPr>
              <a:t>10</a:t>
            </a:r>
            <a:r>
              <a:rPr lang="zh-CN" altLang="en-US" sz="1470" dirty="0">
                <a:solidFill>
                  <a:srgbClr val="002C6C"/>
                </a:solidFill>
                <a:cs typeface="+mn-ea"/>
                <a:sym typeface="+mn-lt"/>
              </a:rPr>
              <a:t>位数字组成。</a:t>
            </a:r>
            <a:endParaRPr lang="en-US" altLang="zh-CN" sz="1470" dirty="0">
              <a:solidFill>
                <a:srgbClr val="002C6C"/>
              </a:solidFill>
              <a:cs typeface="+mn-ea"/>
              <a:sym typeface="+mn-lt"/>
            </a:endParaRPr>
          </a:p>
          <a:p>
            <a:pPr marL="441000" indent="-350044" defTabSz="560015" fontAlgn="base">
              <a:lnSpc>
                <a:spcPct val="110000"/>
              </a:lnSpc>
              <a:spcBef>
                <a:spcPts val="490"/>
              </a:spcBef>
              <a:spcAft>
                <a:spcPct val="0"/>
              </a:spcAft>
              <a:buClr>
                <a:srgbClr val="F26334"/>
              </a:buClr>
              <a:buFont typeface="Wingdings" pitchFamily="2" charset="2"/>
              <a:buChar char="ü"/>
            </a:pPr>
            <a:r>
              <a:rPr lang="zh-CN" altLang="en-US" sz="1470" dirty="0">
                <a:solidFill>
                  <a:srgbClr val="FF8200"/>
                </a:solidFill>
                <a:cs typeface="+mn-ea"/>
                <a:sym typeface="+mn-lt"/>
              </a:rPr>
              <a:t>商品项目代码</a:t>
            </a:r>
            <a:r>
              <a:rPr lang="zh-CN" altLang="en-US" sz="1470" dirty="0">
                <a:solidFill>
                  <a:srgbClr val="002C6C"/>
                </a:solidFill>
                <a:cs typeface="+mn-ea"/>
                <a:sym typeface="+mn-lt"/>
              </a:rPr>
              <a:t>：由</a:t>
            </a:r>
            <a:r>
              <a:rPr lang="en-US" altLang="zh-CN" sz="1470" dirty="0">
                <a:solidFill>
                  <a:srgbClr val="002C6C"/>
                </a:solidFill>
                <a:cs typeface="+mn-ea"/>
                <a:sym typeface="+mn-lt"/>
              </a:rPr>
              <a:t>5</a:t>
            </a:r>
            <a:r>
              <a:rPr lang="zh-CN" altLang="en-US" sz="1470" dirty="0">
                <a:solidFill>
                  <a:srgbClr val="002C6C"/>
                </a:solidFill>
                <a:cs typeface="+mn-ea"/>
                <a:sym typeface="+mn-lt"/>
              </a:rPr>
              <a:t>～</a:t>
            </a:r>
            <a:r>
              <a:rPr lang="en-US" altLang="zh-CN" sz="1470" dirty="0">
                <a:solidFill>
                  <a:srgbClr val="002C6C"/>
                </a:solidFill>
                <a:cs typeface="+mn-ea"/>
                <a:sym typeface="+mn-lt"/>
              </a:rPr>
              <a:t>2</a:t>
            </a:r>
            <a:r>
              <a:rPr lang="zh-CN" altLang="en-US" sz="1470" dirty="0">
                <a:solidFill>
                  <a:srgbClr val="002C6C"/>
                </a:solidFill>
                <a:cs typeface="+mn-ea"/>
                <a:sym typeface="+mn-lt"/>
              </a:rPr>
              <a:t>位数字组成，一般由厂商编制。</a:t>
            </a:r>
            <a:endParaRPr lang="en-US" altLang="zh-CN" sz="1470" dirty="0">
              <a:solidFill>
                <a:srgbClr val="002C6C"/>
              </a:solidFill>
              <a:cs typeface="+mn-ea"/>
              <a:sym typeface="+mn-lt"/>
            </a:endParaRPr>
          </a:p>
          <a:p>
            <a:pPr marL="441000" indent="-350044" defTabSz="560015" fontAlgn="base">
              <a:lnSpc>
                <a:spcPct val="110000"/>
              </a:lnSpc>
              <a:spcBef>
                <a:spcPts val="490"/>
              </a:spcBef>
              <a:spcAft>
                <a:spcPct val="0"/>
              </a:spcAft>
              <a:buClr>
                <a:srgbClr val="F26334"/>
              </a:buClr>
              <a:buFont typeface="Wingdings" pitchFamily="2" charset="2"/>
              <a:buChar char="ü"/>
            </a:pPr>
            <a:r>
              <a:rPr lang="zh-CN" altLang="en-US" sz="1470" dirty="0">
                <a:solidFill>
                  <a:srgbClr val="FF8200"/>
                </a:solidFill>
                <a:cs typeface="+mn-ea"/>
                <a:sym typeface="+mn-lt"/>
              </a:rPr>
              <a:t>校验码</a:t>
            </a:r>
            <a:r>
              <a:rPr lang="zh-CN" altLang="en-US" sz="1470" dirty="0">
                <a:solidFill>
                  <a:srgbClr val="002C6C"/>
                </a:solidFill>
                <a:cs typeface="+mn-ea"/>
                <a:sym typeface="+mn-lt"/>
              </a:rPr>
              <a:t>：</a:t>
            </a:r>
            <a:r>
              <a:rPr lang="en-US" altLang="zh-CN" sz="1470" dirty="0">
                <a:solidFill>
                  <a:srgbClr val="002C6C"/>
                </a:solidFill>
                <a:cs typeface="+mn-ea"/>
                <a:sym typeface="+mn-lt"/>
              </a:rPr>
              <a:t>1</a:t>
            </a:r>
            <a:r>
              <a:rPr lang="zh-CN" altLang="en-US" sz="1470" dirty="0">
                <a:solidFill>
                  <a:srgbClr val="002C6C"/>
                </a:solidFill>
                <a:cs typeface="+mn-ea"/>
                <a:sym typeface="+mn-lt"/>
              </a:rPr>
              <a:t>位数字，用于检验整个编码的正误。</a:t>
            </a:r>
            <a:endParaRPr lang="en-US" altLang="zh-CN" sz="1470" dirty="0">
              <a:solidFill>
                <a:srgbClr val="002C6C"/>
              </a:solidFill>
              <a:cs typeface="+mn-ea"/>
              <a:sym typeface="+mn-lt"/>
            </a:endParaRPr>
          </a:p>
        </p:txBody>
      </p:sp>
      <p:cxnSp>
        <p:nvCxnSpPr>
          <p:cNvPr id="10" name="直接连接符 40"/>
          <p:cNvCxnSpPr/>
          <p:nvPr/>
        </p:nvCxnSpPr>
        <p:spPr>
          <a:xfrm>
            <a:off x="5133975" y="5017294"/>
            <a:ext cx="1306830" cy="0"/>
          </a:xfrm>
          <a:prstGeom prst="line">
            <a:avLst/>
          </a:prstGeom>
          <a:ln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文本框 10"/>
          <p:cNvSpPr txBox="1"/>
          <p:nvPr/>
        </p:nvSpPr>
        <p:spPr>
          <a:xfrm>
            <a:off x="5133975" y="5110640"/>
            <a:ext cx="1306830" cy="2616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00" dirty="0">
                <a:cs typeface="+mn-ea"/>
                <a:sym typeface="+mn-lt"/>
              </a:rPr>
              <a:t>厂商识别代码</a:t>
            </a:r>
          </a:p>
        </p:txBody>
      </p:sp>
      <p:cxnSp>
        <p:nvCxnSpPr>
          <p:cNvPr id="12" name="直接连接符 42"/>
          <p:cNvCxnSpPr/>
          <p:nvPr/>
        </p:nvCxnSpPr>
        <p:spPr>
          <a:xfrm flipV="1">
            <a:off x="6611339" y="5017294"/>
            <a:ext cx="746760" cy="1"/>
          </a:xfrm>
          <a:prstGeom prst="line">
            <a:avLst/>
          </a:prstGeom>
          <a:ln>
            <a:solidFill>
              <a:srgbClr val="FF82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/>
        </p:nvSpPr>
        <p:spPr>
          <a:xfrm>
            <a:off x="6515100" y="5100679"/>
            <a:ext cx="105352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cs typeface="+mn-ea"/>
                <a:sym typeface="+mn-lt"/>
              </a:rPr>
              <a:t>商品项目代码</a:t>
            </a:r>
          </a:p>
        </p:txBody>
      </p:sp>
      <p:cxnSp>
        <p:nvCxnSpPr>
          <p:cNvPr id="14" name="直接连接符 44"/>
          <p:cNvCxnSpPr/>
          <p:nvPr/>
        </p:nvCxnSpPr>
        <p:spPr>
          <a:xfrm>
            <a:off x="7382008" y="5013763"/>
            <a:ext cx="186690" cy="0"/>
          </a:xfrm>
          <a:prstGeom prst="line">
            <a:avLst/>
          </a:prstGeom>
          <a:ln>
            <a:solidFill>
              <a:srgbClr val="00B74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/>
        </p:nvSpPr>
        <p:spPr>
          <a:xfrm>
            <a:off x="7642919" y="5100679"/>
            <a:ext cx="743170" cy="261610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cs typeface="+mn-ea"/>
                <a:sym typeface="+mn-lt"/>
              </a:rPr>
              <a:t>校验位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700" y="1702594"/>
            <a:ext cx="2074397" cy="3141633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72649" y="1702593"/>
            <a:ext cx="2028538" cy="3141633"/>
          </a:xfrm>
          <a:prstGeom prst="rect">
            <a:avLst/>
          </a:prstGeom>
        </p:spPr>
      </p:pic>
      <p:sp>
        <p:nvSpPr>
          <p:cNvPr id="19" name="矩形 18"/>
          <p:cNvSpPr/>
          <p:nvPr/>
        </p:nvSpPr>
        <p:spPr>
          <a:xfrm>
            <a:off x="3619500" y="3455194"/>
            <a:ext cx="685800" cy="1389032"/>
          </a:xfrm>
          <a:prstGeom prst="rect">
            <a:avLst/>
          </a:prstGeom>
          <a:noFill/>
          <a:ln w="254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>
            <a:off x="4295775" y="4261453"/>
            <a:ext cx="838200" cy="3048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标题 2"/>
          <p:cNvSpPr txBox="1">
            <a:spLocks/>
          </p:cNvSpPr>
          <p:nvPr/>
        </p:nvSpPr>
        <p:spPr bwMode="auto">
          <a:xfrm>
            <a:off x="571500" y="407194"/>
            <a:ext cx="10098829" cy="83256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 cap="none" spc="0">
                <a:solidFill>
                  <a:schemeClr val="tx2"/>
                </a:solidFill>
                <a:latin typeface="+mn-lt"/>
                <a:ea typeface="+mj-ea"/>
                <a:cs typeface="Verdana"/>
              </a:defRPr>
            </a:lvl1pPr>
            <a:lvl2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19943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839885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259829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679772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defTabSz="1183148"/>
            <a:r>
              <a:rPr lang="zh-CN" altLang="en-US" dirty="0" smtClean="0">
                <a:cs typeface="+mn-ea"/>
                <a:sym typeface="+mn-lt"/>
              </a:rPr>
              <a:t>商品条码示例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3297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smtClean="0">
                <a:latin typeface="+mn-lt"/>
                <a:cs typeface="+mn-ea"/>
                <a:sym typeface="+mn-lt"/>
              </a:rPr>
              <a:t>7</a:t>
            </a:fld>
            <a:endParaRPr lang="en-GB">
              <a:latin typeface="+mn-lt"/>
              <a:cs typeface="+mn-ea"/>
              <a:sym typeface="+mn-lt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1120381" y="1637890"/>
            <a:ext cx="2995246" cy="59810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sz="24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数据量全球居首</a:t>
            </a:r>
            <a:endParaRPr lang="en-US" altLang="zh-CN" sz="2400" b="1" dirty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7763878" y="1637890"/>
            <a:ext cx="2523231" cy="59810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sz="24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国际互通互联</a:t>
            </a:r>
            <a:endParaRPr lang="en-US" altLang="zh-CN" sz="2400" b="1" dirty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03390" y="2177189"/>
            <a:ext cx="10205421" cy="3106805"/>
            <a:chOff x="503390" y="2177189"/>
            <a:chExt cx="10205421" cy="3106805"/>
          </a:xfrm>
        </p:grpSpPr>
        <p:sp>
          <p:nvSpPr>
            <p:cNvPr id="20" name="等腰三角形 19"/>
            <p:cNvSpPr/>
            <p:nvPr/>
          </p:nvSpPr>
          <p:spPr>
            <a:xfrm rot="16200000">
              <a:off x="5365176" y="2699555"/>
              <a:ext cx="2414729" cy="2245468"/>
            </a:xfrm>
            <a:prstGeom prst="triangle">
              <a:avLst/>
            </a:prstGeom>
            <a:solidFill>
              <a:schemeClr val="accent1"/>
            </a:solidFill>
            <a:ln w="25400">
              <a:noFill/>
              <a:prstDash val="lg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55">
                <a:cs typeface="+mn-ea"/>
                <a:sym typeface="+mn-lt"/>
              </a:endParaRPr>
            </a:p>
          </p:txBody>
        </p:sp>
        <p:pic>
          <p:nvPicPr>
            <p:cNvPr id="3" name="图片 2"/>
            <p:cNvPicPr>
              <a:picLocks noChangeAspect="1"/>
            </p:cNvPicPr>
            <p:nvPr/>
          </p:nvPicPr>
          <p:blipFill rotWithShape="1">
            <a:blip r:embed="rId3"/>
            <a:srcRect t="12012"/>
            <a:stretch>
              <a:fillRect/>
            </a:stretch>
          </p:blipFill>
          <p:spPr>
            <a:xfrm>
              <a:off x="7553723" y="3140750"/>
              <a:ext cx="2847577" cy="1815345"/>
            </a:xfrm>
            <a:prstGeom prst="rect">
              <a:avLst/>
            </a:prstGeom>
            <a:ln w="9525">
              <a:solidFill>
                <a:schemeClr val="bg1"/>
              </a:solidFill>
            </a:ln>
          </p:spPr>
        </p:pic>
        <p:sp>
          <p:nvSpPr>
            <p:cNvPr id="23" name="等腰三角形 22"/>
            <p:cNvSpPr/>
            <p:nvPr/>
          </p:nvSpPr>
          <p:spPr>
            <a:xfrm rot="5400000">
              <a:off x="3442575" y="2773788"/>
              <a:ext cx="2414729" cy="1949884"/>
            </a:xfrm>
            <a:prstGeom prst="triangle">
              <a:avLst/>
            </a:prstGeom>
            <a:solidFill>
              <a:srgbClr val="0070C0"/>
            </a:solidFill>
            <a:ln w="254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55">
                <a:cs typeface="+mn-ea"/>
                <a:sym typeface="+mn-lt"/>
              </a:endParaRPr>
            </a:p>
          </p:txBody>
        </p:sp>
        <p:sp>
          <p:nvSpPr>
            <p:cNvPr id="25" name="六边形 24"/>
            <p:cNvSpPr/>
            <p:nvPr/>
          </p:nvSpPr>
          <p:spPr>
            <a:xfrm>
              <a:off x="509567" y="3304626"/>
              <a:ext cx="3650035" cy="950877"/>
            </a:xfrm>
            <a:prstGeom prst="hexagon">
              <a:avLst/>
            </a:prstGeom>
            <a:solidFill>
              <a:srgbClr val="0070C0"/>
            </a:solidFill>
            <a:ln w="254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55" dirty="0">
                <a:cs typeface="+mn-ea"/>
                <a:sym typeface="+mn-lt"/>
              </a:endParaRPr>
            </a:p>
          </p:txBody>
        </p:sp>
        <p:sp>
          <p:nvSpPr>
            <p:cNvPr id="26" name="六边形 25"/>
            <p:cNvSpPr/>
            <p:nvPr/>
          </p:nvSpPr>
          <p:spPr>
            <a:xfrm>
              <a:off x="503390" y="4307017"/>
              <a:ext cx="3656212" cy="952560"/>
            </a:xfrm>
            <a:prstGeom prst="hexagon">
              <a:avLst/>
            </a:prstGeom>
            <a:solidFill>
              <a:srgbClr val="0070C0"/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55">
                <a:cs typeface="+mn-ea"/>
                <a:sym typeface="+mn-lt"/>
              </a:endParaRPr>
            </a:p>
          </p:txBody>
        </p:sp>
        <p:sp>
          <p:nvSpPr>
            <p:cNvPr id="27" name="六边形 26"/>
            <p:cNvSpPr/>
            <p:nvPr/>
          </p:nvSpPr>
          <p:spPr>
            <a:xfrm>
              <a:off x="7200900" y="4587951"/>
              <a:ext cx="3507911" cy="696043"/>
            </a:xfrm>
            <a:prstGeom prst="hexagon">
              <a:avLst/>
            </a:prstGeom>
            <a:solidFill>
              <a:schemeClr val="accent1"/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55">
                <a:cs typeface="+mn-ea"/>
                <a:sym typeface="+mn-lt"/>
              </a:endParaRPr>
            </a:p>
          </p:txBody>
        </p:sp>
        <p:grpSp>
          <p:nvGrpSpPr>
            <p:cNvPr id="29" name="组合 28"/>
            <p:cNvGrpSpPr/>
            <p:nvPr/>
          </p:nvGrpSpPr>
          <p:grpSpPr>
            <a:xfrm>
              <a:off x="4060676" y="2177189"/>
              <a:ext cx="3201147" cy="2587827"/>
              <a:chOff x="3296996" y="1479966"/>
              <a:chExt cx="2572460" cy="2112512"/>
            </a:xfrm>
          </p:grpSpPr>
          <p:sp>
            <p:nvSpPr>
              <p:cNvPr id="30" name="AutoShape 3"/>
              <p:cNvSpPr>
                <a:spLocks noChangeArrowheads="1"/>
              </p:cNvSpPr>
              <p:nvPr/>
            </p:nvSpPr>
            <p:spPr bwMode="auto">
              <a:xfrm>
                <a:off x="3296996" y="1479966"/>
                <a:ext cx="2572460" cy="2112512"/>
              </a:xfrm>
              <a:prstGeom prst="ellipse">
                <a:avLst/>
              </a:prstGeom>
              <a:gradFill flip="none" rotWithShape="1">
                <a:gsLst>
                  <a:gs pos="0">
                    <a:srgbClr val="00DFF6"/>
                  </a:gs>
                  <a:gs pos="90000">
                    <a:srgbClr val="002774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isometricOffAxis1Top">
                  <a:rot lat="17699970" lon="0" rev="0"/>
                </a:camera>
                <a:lightRig rig="flat" dir="t"/>
              </a:scene3d>
              <a:sp3d extrusionH="304800" contourW="19050">
                <a:bevelT w="101600" prst="convex"/>
                <a:bevelB w="0" h="38100"/>
                <a:contourClr>
                  <a:srgbClr val="AFEAFF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ctr" hangingPunct="0">
                  <a:buClr>
                    <a:srgbClr val="FF0000"/>
                  </a:buClr>
                  <a:buSzPct val="70000"/>
                  <a:defRPr/>
                </a:pPr>
                <a:endParaRPr lang="zh-CN" altLang="zh-CN" sz="1470" b="1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pic>
            <p:nvPicPr>
              <p:cNvPr id="31" name="Picture 2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3296996" y="2157784"/>
                <a:ext cx="2511342" cy="830298"/>
              </a:xfrm>
              <a:prstGeom prst="ellipse">
                <a:avLst/>
              </a:prstGeom>
              <a:ln>
                <a:noFill/>
              </a:ln>
              <a:effectLst/>
            </p:spPr>
          </p:pic>
          <p:sp>
            <p:nvSpPr>
              <p:cNvPr id="32" name="TextBox 9"/>
              <p:cNvSpPr txBox="1"/>
              <p:nvPr/>
            </p:nvSpPr>
            <p:spPr>
              <a:xfrm>
                <a:off x="4233727" y="2387537"/>
                <a:ext cx="782375" cy="306259"/>
              </a:xfrm>
              <a:prstGeom prst="rect">
                <a:avLst/>
              </a:prstGeom>
              <a:solidFill>
                <a:schemeClr val="bg1">
                  <a:alpha val="99000"/>
                </a:schemeClr>
              </a:solidFill>
              <a:scene3d>
                <a:camera prst="orthographicFront"/>
                <a:lightRig rig="threePt" dir="t"/>
              </a:scene3d>
              <a:sp3d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zh-CN" altLang="en-US" sz="1840" b="1" dirty="0">
                    <a:solidFill>
                      <a:srgbClr val="000000"/>
                    </a:solidFill>
                    <a:effectLst>
                      <a:reflection blurRad="6350" stA="50000" endA="300" endPos="50000" dist="60007" dir="5400000" sy="-100000" algn="bl" rotWithShape="0"/>
                    </a:effectLst>
                    <a:cs typeface="+mn-ea"/>
                    <a:sym typeface="+mn-lt"/>
                  </a:rPr>
                  <a:t>商品库</a:t>
                </a:r>
              </a:p>
            </p:txBody>
          </p:sp>
        </p:grpSp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5"/>
            <a:srcRect l="9405" t="26729" r="7773"/>
            <a:stretch>
              <a:fillRect/>
            </a:stretch>
          </p:blipFill>
          <p:spPr>
            <a:xfrm>
              <a:off x="940972" y="3470854"/>
              <a:ext cx="1267184" cy="70818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" name="Picture 91" descr="image00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6258" y="4496885"/>
              <a:ext cx="1233544" cy="660749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文本框 34"/>
            <p:cNvSpPr txBox="1"/>
            <p:nvPr/>
          </p:nvSpPr>
          <p:spPr>
            <a:xfrm>
              <a:off x="1901904" y="4421272"/>
              <a:ext cx="2400738" cy="373478"/>
            </a:xfrm>
            <a:prstGeom prst="round2Same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zh-CN" altLang="en-US" sz="1715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产品</a:t>
              </a:r>
              <a:r>
                <a:rPr lang="zh-CN" altLang="en-US" sz="1715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数字</a:t>
              </a:r>
              <a:r>
                <a:rPr lang="zh-CN" altLang="en-US" sz="1715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档案</a:t>
              </a: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1880433" y="3411393"/>
              <a:ext cx="2400738" cy="373478"/>
            </a:xfrm>
            <a:prstGeom prst="round2Same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zh-CN" altLang="en-US" sz="1715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进口商品数据</a:t>
              </a: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7204395" y="4731337"/>
              <a:ext cx="2400738" cy="373478"/>
            </a:xfrm>
            <a:prstGeom prst="round2Same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zh-CN" altLang="en-US" sz="1715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国际共享数据</a:t>
              </a: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2421755" y="3779903"/>
              <a:ext cx="1910071" cy="40011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solidFill>
                    <a:schemeClr val="accent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29</a:t>
              </a:r>
              <a:r>
                <a:rPr lang="zh-CN" altLang="en-US" sz="2000" b="1" dirty="0">
                  <a:solidFill>
                    <a:schemeClr val="accent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万种</a:t>
              </a: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9136176" y="4667499"/>
              <a:ext cx="1477103" cy="469359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US" altLang="zh-CN" sz="2450" b="1" dirty="0" smtClean="0">
                  <a:solidFill>
                    <a:schemeClr val="bg1"/>
                  </a:solidFill>
                  <a:cs typeface="+mn-ea"/>
                  <a:sym typeface="+mn-lt"/>
                </a:rPr>
                <a:t>4.9亿</a:t>
              </a:r>
              <a:r>
                <a:rPr lang="zh-CN" altLang="en-US" sz="2450" b="1" dirty="0">
                  <a:solidFill>
                    <a:schemeClr val="bg1"/>
                  </a:solidFill>
                  <a:cs typeface="+mn-ea"/>
                  <a:sym typeface="+mn-lt"/>
                </a:rPr>
                <a:t>种</a:t>
              </a:r>
              <a:endParaRPr lang="en-US" altLang="zh-CN" sz="245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2444403" y="4794143"/>
              <a:ext cx="1705124" cy="40011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accent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94万</a:t>
              </a:r>
              <a:r>
                <a:rPr lang="zh-CN" altLang="en-US" sz="2000" b="1" dirty="0">
                  <a:solidFill>
                    <a:schemeClr val="accent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rPr>
                <a:t>种</a:t>
              </a:r>
            </a:p>
          </p:txBody>
        </p:sp>
        <p:grpSp>
          <p:nvGrpSpPr>
            <p:cNvPr id="42" name="组合 41"/>
            <p:cNvGrpSpPr/>
            <p:nvPr/>
          </p:nvGrpSpPr>
          <p:grpSpPr>
            <a:xfrm>
              <a:off x="516475" y="2301086"/>
              <a:ext cx="3729329" cy="952559"/>
              <a:chOff x="421612" y="2402178"/>
              <a:chExt cx="3044350" cy="834887"/>
            </a:xfrm>
          </p:grpSpPr>
          <p:sp>
            <p:nvSpPr>
              <p:cNvPr id="43" name="六边形 42"/>
              <p:cNvSpPr/>
              <p:nvPr/>
            </p:nvSpPr>
            <p:spPr>
              <a:xfrm>
                <a:off x="421612" y="2402178"/>
                <a:ext cx="2938083" cy="834887"/>
              </a:xfrm>
              <a:prstGeom prst="hexagon">
                <a:avLst/>
              </a:prstGeom>
              <a:solidFill>
                <a:srgbClr val="0070C0"/>
              </a:solidFill>
              <a:ln w="254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855">
                  <a:cs typeface="+mn-ea"/>
                  <a:sym typeface="+mn-lt"/>
                </a:endParaRPr>
              </a:p>
            </p:txBody>
          </p:sp>
          <p:pic>
            <p:nvPicPr>
              <p:cNvPr id="44" name="图片 43"/>
              <p:cNvPicPr>
                <a:picLocks noChangeAspect="1"/>
              </p:cNvPicPr>
              <p:nvPr/>
            </p:nvPicPr>
            <p:blipFill rotWithShape="1">
              <a:blip r:embed="rId7"/>
              <a:srcRect l="8097"/>
              <a:stretch>
                <a:fillRect/>
              </a:stretch>
            </p:blipFill>
            <p:spPr>
              <a:xfrm>
                <a:off x="701761" y="2518334"/>
                <a:ext cx="1082991" cy="5944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45" name="文本框 44"/>
              <p:cNvSpPr txBox="1"/>
              <p:nvPr/>
            </p:nvSpPr>
            <p:spPr>
              <a:xfrm>
                <a:off x="1506176" y="2500779"/>
                <a:ext cx="1959786" cy="327341"/>
              </a:xfrm>
              <a:prstGeom prst="round2Same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/>
                <a:r>
                  <a:rPr lang="zh-CN" altLang="en-US" sz="1715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+mn-ea"/>
                    <a:sym typeface="+mn-lt"/>
                  </a:rPr>
                  <a:t>国内</a:t>
                </a:r>
                <a:r>
                  <a:rPr lang="zh-CN" altLang="en-US" sz="1715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+mn-ea"/>
                    <a:sym typeface="+mn-lt"/>
                  </a:rPr>
                  <a:t>产品</a:t>
                </a:r>
                <a:r>
                  <a:rPr lang="zh-CN" altLang="en-US" sz="1715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+mn-ea"/>
                    <a:sym typeface="+mn-lt"/>
                  </a:rPr>
                  <a:t>数据</a:t>
                </a:r>
                <a:endParaRPr lang="zh-CN" altLang="en-US" sz="1715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46" name="文本框 45"/>
              <p:cNvSpPr txBox="1"/>
              <p:nvPr/>
            </p:nvSpPr>
            <p:spPr>
              <a:xfrm>
                <a:off x="1956865" y="2821004"/>
                <a:ext cx="1402830" cy="350683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000" b="1" dirty="0" smtClean="0">
                    <a:solidFill>
                      <a:schemeClr val="accent5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+mn-ea"/>
                    <a:sym typeface="+mn-lt"/>
                  </a:rPr>
                  <a:t>1.96亿</a:t>
                </a:r>
                <a:r>
                  <a:rPr lang="zh-CN" altLang="en-US" sz="2000" b="1" dirty="0">
                    <a:solidFill>
                      <a:schemeClr val="accent5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+mn-ea"/>
                    <a:sym typeface="+mn-lt"/>
                  </a:rPr>
                  <a:t>种</a:t>
                </a:r>
              </a:p>
            </p:txBody>
          </p:sp>
        </p:grpSp>
        <p:pic>
          <p:nvPicPr>
            <p:cNvPr id="14" name="图片 13"/>
            <p:cNvPicPr>
              <a:picLocks noChangeAspect="1"/>
            </p:cNvPicPr>
            <p:nvPr/>
          </p:nvPicPr>
          <p:blipFill rotWithShape="1">
            <a:blip r:embed="rId8"/>
            <a:srcRect b="13087"/>
            <a:stretch>
              <a:fillRect/>
            </a:stretch>
          </p:blipFill>
          <p:spPr>
            <a:xfrm>
              <a:off x="7544604" y="2334681"/>
              <a:ext cx="2843584" cy="80313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</p:grpSp>
      <p:sp>
        <p:nvSpPr>
          <p:cNvPr id="38" name="文本框 37"/>
          <p:cNvSpPr txBox="1"/>
          <p:nvPr/>
        </p:nvSpPr>
        <p:spPr>
          <a:xfrm>
            <a:off x="491299" y="1275006"/>
            <a:ext cx="1030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1800" dirty="0">
                <a:solidFill>
                  <a:schemeClr val="tx2"/>
                </a:solidFill>
                <a:cs typeface="+mn-ea"/>
                <a:sym typeface="+mn-lt"/>
              </a:rPr>
              <a:t> </a:t>
            </a:r>
            <a:r>
              <a:rPr lang="en-US" altLang="zh-CN" sz="1800" dirty="0" smtClean="0">
                <a:solidFill>
                  <a:schemeClr val="tx2"/>
                </a:solidFill>
                <a:cs typeface="+mn-ea"/>
                <a:sym typeface="+mn-lt"/>
              </a:rPr>
              <a:t>1995</a:t>
            </a:r>
            <a:r>
              <a:rPr lang="zh-CN" altLang="en-US" sz="1800" dirty="0" smtClean="0">
                <a:solidFill>
                  <a:schemeClr val="tx2"/>
                </a:solidFill>
                <a:cs typeface="+mn-ea"/>
                <a:sym typeface="+mn-lt"/>
              </a:rPr>
              <a:t>年至今，编码中心一直努力</a:t>
            </a:r>
            <a:r>
              <a:rPr kumimoji="1" lang="zh-CN" altLang="en-US" sz="1800" dirty="0" smtClean="0">
                <a:solidFill>
                  <a:schemeClr val="tx2"/>
                </a:solidFill>
                <a:cs typeface="+mn-ea"/>
                <a:sym typeface="+mn-lt"/>
              </a:rPr>
              <a:t>打造国家</a:t>
            </a:r>
            <a:r>
              <a:rPr kumimoji="1" lang="zh-CN" altLang="en-US" sz="1800" dirty="0">
                <a:solidFill>
                  <a:schemeClr val="tx2"/>
                </a:solidFill>
                <a:cs typeface="+mn-ea"/>
                <a:sym typeface="+mn-lt"/>
              </a:rPr>
              <a:t>产品</a:t>
            </a:r>
            <a:r>
              <a:rPr kumimoji="1" lang="zh-CN" altLang="en-US" sz="1800" dirty="0" smtClean="0">
                <a:solidFill>
                  <a:schemeClr val="tx2"/>
                </a:solidFill>
                <a:cs typeface="+mn-ea"/>
                <a:sym typeface="+mn-lt"/>
              </a:rPr>
              <a:t>身份信息数据库。</a:t>
            </a:r>
            <a:endParaRPr kumimoji="1" lang="zh-CN" altLang="en-US" sz="18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49" name="标题 2"/>
          <p:cNvSpPr txBox="1">
            <a:spLocks/>
          </p:cNvSpPr>
          <p:nvPr/>
        </p:nvSpPr>
        <p:spPr bwMode="auto">
          <a:xfrm>
            <a:off x="571500" y="407194"/>
            <a:ext cx="10098829" cy="83256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 cap="none" spc="0">
                <a:solidFill>
                  <a:schemeClr val="tx2"/>
                </a:solidFill>
                <a:latin typeface="+mn-lt"/>
                <a:ea typeface="+mj-ea"/>
                <a:cs typeface="Verdana"/>
              </a:defRPr>
            </a:lvl1pPr>
            <a:lvl2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19943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839885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259829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679772" algn="l" defTabSz="419943" rtl="0" eaLnBrk="1" fontAlgn="base" hangingPunct="1">
              <a:spcBef>
                <a:spcPct val="0"/>
              </a:spcBef>
              <a:spcAft>
                <a:spcPct val="0"/>
              </a:spcAft>
              <a:defRPr sz="2388">
                <a:solidFill>
                  <a:srgbClr val="002C6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zh-CN" altLang="en-US" dirty="0">
                <a:cs typeface="+mn-ea"/>
                <a:sym typeface="+mn-lt"/>
              </a:rPr>
              <a:t>商品条码</a:t>
            </a:r>
            <a:r>
              <a:rPr lang="zh-CN" altLang="en-US" dirty="0" smtClean="0">
                <a:cs typeface="+mn-ea"/>
                <a:sym typeface="+mn-lt"/>
              </a:rPr>
              <a:t>数据资源</a:t>
            </a:r>
            <a:endParaRPr lang="en-GB" altLang="zh-CN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5960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81011" y="1276423"/>
            <a:ext cx="11053380" cy="486081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646405" y="4119969"/>
            <a:ext cx="4826952" cy="1710580"/>
          </a:xfrm>
          <a:prstGeom prst="rect">
            <a:avLst/>
          </a:prstGeom>
          <a:solidFill>
            <a:srgbClr val="E1EDFF"/>
          </a:solidFill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628136" y="1738308"/>
            <a:ext cx="2845222" cy="2274390"/>
          </a:xfrm>
          <a:prstGeom prst="rect">
            <a:avLst/>
          </a:prstGeom>
          <a:solidFill>
            <a:srgbClr val="E1EDFF"/>
          </a:solidFill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  <a:sym typeface="+mn-ea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5607702" y="1738307"/>
            <a:ext cx="1939242" cy="2285665"/>
          </a:xfrm>
          <a:prstGeom prst="rect">
            <a:avLst/>
          </a:prstGeom>
          <a:solidFill>
            <a:srgbClr val="E1EDFF"/>
          </a:solidFill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 defTabSz="1120140"/>
            <a:endParaRPr lang="zh-CN" altLang="en-US" sz="2205">
              <a:solidFill>
                <a:prstClr val="white"/>
              </a:solidFill>
              <a:latin typeface="微软雅黑"/>
              <a:ea typeface="微软雅黑"/>
              <a:sym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630517" y="1833101"/>
            <a:ext cx="1871719" cy="351073"/>
          </a:xfrm>
          <a:prstGeom prst="rect">
            <a:avLst/>
          </a:prstGeom>
          <a:gradFill>
            <a:gsLst>
              <a:gs pos="0">
                <a:schemeClr val="accent2">
                  <a:tint val="100000"/>
                  <a:shade val="100000"/>
                  <a:satMod val="130000"/>
                </a:schemeClr>
              </a:gs>
              <a:gs pos="100000">
                <a:srgbClr val="0070C0"/>
              </a:gs>
            </a:gsLst>
          </a:gra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r>
              <a:rPr lang="zh-CN" altLang="en-US" sz="1348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集对象</a:t>
            </a:r>
          </a:p>
        </p:txBody>
      </p:sp>
      <p:sp>
        <p:nvSpPr>
          <p:cNvPr id="11" name="矩形 10"/>
          <p:cNvSpPr/>
          <p:nvPr/>
        </p:nvSpPr>
        <p:spPr>
          <a:xfrm>
            <a:off x="7968856" y="1813309"/>
            <a:ext cx="2039193" cy="372990"/>
          </a:xfrm>
          <a:prstGeom prst="rect">
            <a:avLst/>
          </a:prstGeom>
          <a:gradFill>
            <a:gsLst>
              <a:gs pos="0">
                <a:schemeClr val="accent2">
                  <a:tint val="100000"/>
                  <a:shade val="100000"/>
                  <a:satMod val="130000"/>
                </a:schemeClr>
              </a:gs>
              <a:gs pos="100000">
                <a:srgbClr val="0070C0"/>
              </a:gs>
            </a:gsLst>
          </a:gra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 defTabSz="1120140"/>
            <a:r>
              <a:rPr lang="zh-CN" altLang="en-US" sz="1348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采集内容</a:t>
            </a:r>
          </a:p>
        </p:txBody>
      </p:sp>
      <p:sp>
        <p:nvSpPr>
          <p:cNvPr id="19" name="矩形 18"/>
          <p:cNvSpPr/>
          <p:nvPr/>
        </p:nvSpPr>
        <p:spPr>
          <a:xfrm>
            <a:off x="5644214" y="4135986"/>
            <a:ext cx="1902730" cy="347108"/>
          </a:xfrm>
          <a:prstGeom prst="rect">
            <a:avLst/>
          </a:prstGeom>
          <a:gradFill>
            <a:gsLst>
              <a:gs pos="0">
                <a:schemeClr val="accent2">
                  <a:tint val="100000"/>
                  <a:shade val="100000"/>
                  <a:satMod val="130000"/>
                </a:schemeClr>
              </a:gs>
              <a:gs pos="100000">
                <a:srgbClr val="0070C0"/>
              </a:gs>
            </a:gsLst>
          </a:gra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algn="ctr" defTabSz="1120140"/>
            <a:r>
              <a:rPr lang="zh-CN" altLang="en-US" sz="1348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工作措施</a:t>
            </a:r>
          </a:p>
        </p:txBody>
      </p:sp>
      <p:sp>
        <p:nvSpPr>
          <p:cNvPr id="24" name="TextBox 7"/>
          <p:cNvSpPr txBox="1"/>
          <p:nvPr/>
        </p:nvSpPr>
        <p:spPr>
          <a:xfrm>
            <a:off x="3372656" y="1296355"/>
            <a:ext cx="3746538" cy="3939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120140"/>
            <a:r>
              <a:rPr kumimoji="1" lang="zh-CN" altLang="en-US" sz="1960" b="1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产品信息</a:t>
            </a:r>
            <a:r>
              <a:rPr kumimoji="1" lang="en-US" altLang="zh-CN" sz="1960" b="1" dirty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—</a:t>
            </a:r>
            <a:r>
              <a:rPr kumimoji="1" lang="zh-CN" altLang="en-US" sz="1960" b="1" dirty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企业实时自主填报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238" y="1722289"/>
            <a:ext cx="5115308" cy="410825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  <p:sp>
        <p:nvSpPr>
          <p:cNvPr id="4" name="文本框 3"/>
          <p:cNvSpPr txBox="1"/>
          <p:nvPr/>
        </p:nvSpPr>
        <p:spPr>
          <a:xfrm>
            <a:off x="5698265" y="3069459"/>
            <a:ext cx="1688727" cy="52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20140">
              <a:lnSpc>
                <a:spcPts val="1715"/>
              </a:lnSpc>
            </a:pPr>
            <a:r>
              <a:rPr lang="zh-CN" altLang="en-US" sz="1470" b="1" dirty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成员企业</a:t>
            </a:r>
          </a:p>
          <a:p>
            <a:pPr algn="ctr" defTabSz="1120140">
              <a:lnSpc>
                <a:spcPts val="1715"/>
              </a:lnSpc>
            </a:pPr>
            <a:r>
              <a:rPr lang="zh-CN" altLang="en-US" sz="1470" b="1" dirty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生产商为主）</a:t>
            </a: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8713" y="2544871"/>
            <a:ext cx="427831" cy="335264"/>
          </a:xfrm>
          <a:prstGeom prst="rect">
            <a:avLst/>
          </a:prstGeom>
        </p:spPr>
      </p:pic>
      <p:sp>
        <p:nvSpPr>
          <p:cNvPr id="16" name="文本框 1"/>
          <p:cNvSpPr txBox="1"/>
          <p:nvPr/>
        </p:nvSpPr>
        <p:spPr>
          <a:xfrm>
            <a:off x="6177826" y="4625172"/>
            <a:ext cx="314220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20140">
              <a:lnSpc>
                <a:spcPts val="1200"/>
              </a:lnSpc>
            </a:pPr>
            <a:r>
              <a:rPr lang="zh-CN" altLang="en-US" sz="1400" b="1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报备</a:t>
            </a:r>
            <a:endParaRPr lang="en-US" altLang="zh-CN" sz="1400" b="1" dirty="0" smtClean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120140">
              <a:lnSpc>
                <a:spcPts val="1200"/>
              </a:lnSpc>
            </a:pPr>
            <a:endParaRPr lang="zh-CN" altLang="en-US" sz="1400" b="1" dirty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120140">
              <a:lnSpc>
                <a:spcPts val="1200"/>
              </a:lnSpc>
            </a:pPr>
            <a:r>
              <a:rPr lang="zh-CN" altLang="en-US" sz="1400" b="1" dirty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与共享</a:t>
            </a:r>
            <a:endParaRPr lang="en-US" altLang="zh-CN" sz="1400" b="1" dirty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120140">
              <a:lnSpc>
                <a:spcPts val="1200"/>
              </a:lnSpc>
            </a:pPr>
            <a:endParaRPr lang="zh-CN" altLang="en-US" sz="1400" b="1" dirty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120140">
              <a:lnSpc>
                <a:spcPts val="1200"/>
              </a:lnSpc>
            </a:pPr>
            <a:r>
              <a:rPr lang="zh-CN" altLang="en-US" sz="1400" b="1" dirty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缺失</a:t>
            </a:r>
            <a:r>
              <a:rPr lang="zh-CN" altLang="en-US" sz="1400" b="1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补录</a:t>
            </a:r>
            <a:endParaRPr lang="en-US" altLang="zh-CN" sz="1400" b="1" dirty="0" smtClean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120140">
              <a:lnSpc>
                <a:spcPts val="1200"/>
              </a:lnSpc>
            </a:pPr>
            <a:endParaRPr lang="en-US" altLang="zh-CN" sz="1200" dirty="0" smtClean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1120140">
              <a:lnSpc>
                <a:spcPts val="1200"/>
              </a:lnSpc>
            </a:pPr>
            <a:r>
              <a:rPr lang="en-US" altLang="zh-CN" sz="1200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在市场上流通</a:t>
            </a:r>
            <a:r>
              <a:rPr lang="zh-CN" altLang="en-US" sz="1200" dirty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但未报</a:t>
            </a:r>
            <a:r>
              <a:rPr lang="zh-CN" altLang="en-US" sz="1200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备过的数据</a:t>
            </a:r>
            <a:endParaRPr lang="zh-CN" altLang="en-US" sz="1200" dirty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5"/>
          <a:srcRect l="1520" r="2309" b="1175"/>
          <a:stretch>
            <a:fillRect/>
          </a:stretch>
        </p:blipFill>
        <p:spPr>
          <a:xfrm>
            <a:off x="5747551" y="4573201"/>
            <a:ext cx="369491" cy="307261"/>
          </a:xfrm>
          <a:prstGeom prst="rect">
            <a:avLst/>
          </a:prstGeom>
        </p:spPr>
      </p:pic>
      <p:pic>
        <p:nvPicPr>
          <p:cNvPr id="100" name="图片 99"/>
          <p:cNvPicPr/>
          <p:nvPr/>
        </p:nvPicPr>
        <p:blipFill>
          <a:blip r:embed="rId6"/>
          <a:stretch>
            <a:fillRect/>
          </a:stretch>
        </p:blipFill>
        <p:spPr>
          <a:xfrm>
            <a:off x="5802759" y="4942716"/>
            <a:ext cx="280035" cy="22869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24972" y="5242199"/>
            <a:ext cx="433276" cy="269923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44576" y="4589251"/>
            <a:ext cx="1147810" cy="915506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7775415" y="2274964"/>
            <a:ext cx="2549685" cy="1590607"/>
          </a:xfrm>
          <a:prstGeom prst="rect">
            <a:avLst/>
          </a:prstGeom>
          <a:noFill/>
          <a:ln w="0" cmpd="sng">
            <a:solidFill>
              <a:srgbClr val="0070C0"/>
            </a:solidFill>
            <a:prstDash val="lg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20140"/>
            <a:endParaRPr lang="zh-CN" altLang="en-US" sz="98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itle 6"/>
          <p:cNvSpPr>
            <a:spLocks noGrp="1"/>
          </p:cNvSpPr>
          <p:nvPr/>
        </p:nvSpPr>
        <p:spPr>
          <a:xfrm>
            <a:off x="602122" y="320159"/>
            <a:ext cx="9871235" cy="83256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56002" rIns="112003" bIns="56002" numCol="1" anchor="ctr" anchorCtr="0" compatLnSpc="1"/>
          <a:lstStyle>
            <a:lvl1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175" kern="1200" cap="none" spc="0">
                <a:solidFill>
                  <a:schemeClr val="tx2"/>
                </a:solidFill>
                <a:latin typeface="Verdana" panose="020B0604030504040204"/>
                <a:ea typeface="MS PGothic" panose="020B0600070205080204" charset="-128"/>
                <a:cs typeface="Verdana" panose="020B0604030504040204"/>
              </a:defRPr>
            </a:lvl1pPr>
            <a:lvl2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2pPr>
            <a:lvl3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3pPr>
            <a:lvl4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4pPr>
            <a:lvl5pPr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085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5pPr>
            <a:lvl6pPr marL="39751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6pPr>
            <a:lvl7pPr marL="79502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7pPr>
            <a:lvl8pPr marL="119253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8pPr>
            <a:lvl9pPr marL="1590040" algn="l" defTabSz="397510" rtl="0" eaLnBrk="1" fontAlgn="base" hangingPunct="1">
              <a:spcBef>
                <a:spcPct val="0"/>
              </a:spcBef>
              <a:spcAft>
                <a:spcPct val="0"/>
              </a:spcAft>
              <a:defRPr sz="2260">
                <a:solidFill>
                  <a:srgbClr val="002C6C"/>
                </a:solidFill>
                <a:latin typeface="Arial" panose="020B0604020202020204" pitchFamily="34" charset="0"/>
                <a:ea typeface="MS PGothic" panose="020B0600070205080204" charset="-128"/>
                <a:cs typeface="MS PGothic" panose="020B0600070205080204" charset="-128"/>
              </a:defRPr>
            </a:lvl9pPr>
          </a:lstStyle>
          <a:p>
            <a:pPr defTabSz="419943"/>
            <a:r>
              <a:rPr lang="zh-CN" altLang="en-US" sz="3200" b="1" dirty="0">
                <a:latin typeface="+mn-lt"/>
                <a:ea typeface="+mj-ea"/>
                <a:cs typeface="+mn-ea"/>
                <a:sym typeface="+mn-ea"/>
              </a:rPr>
              <a:t>国内产品数据采集</a:t>
            </a:r>
            <a:endParaRPr lang="en-GB" sz="3200" b="1" dirty="0">
              <a:latin typeface="+mn-lt"/>
              <a:ea typeface="+mj-ea"/>
              <a:cs typeface="+mn-ea"/>
            </a:endParaRPr>
          </a:p>
        </p:txBody>
      </p:sp>
      <p:sp>
        <p:nvSpPr>
          <p:cNvPr id="14" name="灯片编号占位符 13"/>
          <p:cNvSpPr>
            <a:spLocks noGrp="1"/>
          </p:cNvSpPr>
          <p:nvPr>
            <p:ph type="sldNum" sz="quarter" idx="12"/>
          </p:nvPr>
        </p:nvSpPr>
        <p:spPr>
          <a:xfrm>
            <a:off x="10398732" y="5830549"/>
            <a:ext cx="303230" cy="183989"/>
          </a:xfrm>
        </p:spPr>
        <p:txBody>
          <a:bodyPr/>
          <a:lstStyle/>
          <a:p>
            <a:pPr defTabSz="1120140" fontAlgn="base">
              <a:spcAft>
                <a:spcPct val="0"/>
              </a:spcAft>
              <a:defRPr/>
            </a:pPr>
            <a:fld id="{4472AB7F-E8D0-4874-A9B8-335B68DC5F05}" type="slidenum">
              <a:rPr lang="en-GB">
                <a:ea typeface="微软雅黑"/>
              </a:rPr>
              <a:pPr defTabSz="1120140" fontAlgn="base">
                <a:spcAft>
                  <a:spcPct val="0"/>
                </a:spcAft>
                <a:defRPr/>
              </a:pPr>
              <a:t>8</a:t>
            </a:fld>
            <a:endParaRPr lang="en-GB">
              <a:ea typeface="微软雅黑"/>
            </a:endParaRPr>
          </a:p>
        </p:txBody>
      </p:sp>
      <p:sp>
        <p:nvSpPr>
          <p:cNvPr id="26" name="TextBox 4"/>
          <p:cNvSpPr txBox="1"/>
          <p:nvPr/>
        </p:nvSpPr>
        <p:spPr>
          <a:xfrm>
            <a:off x="7702122" y="4119969"/>
            <a:ext cx="13881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20140"/>
            <a:r>
              <a:rPr lang="zh-CN" altLang="en-US" sz="1600" b="1" dirty="0">
                <a:solidFill>
                  <a:srgbClr val="FF82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</a:t>
            </a:r>
            <a:r>
              <a:rPr lang="en-US" altLang="zh-CN" sz="1600" b="1" dirty="0">
                <a:solidFill>
                  <a:srgbClr val="FF82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b="1" dirty="0">
                <a:solidFill>
                  <a:srgbClr val="FF82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7810500" y="2312194"/>
            <a:ext cx="2231411" cy="1787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 defTabSz="112014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b="1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身份信息</a:t>
            </a:r>
            <a:endParaRPr lang="en-US" altLang="zh-CN" sz="1600" b="1" dirty="0" smtClean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 defTabSz="112014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b="1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流通信息</a:t>
            </a:r>
            <a:endParaRPr lang="en-US" altLang="zh-CN" sz="1600" b="1" dirty="0" smtClean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 defTabSz="112014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b="1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质量信息</a:t>
            </a:r>
            <a:endParaRPr lang="en-US" altLang="zh-CN" sz="1600" b="1" dirty="0" smtClean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 defTabSz="112014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b="1" dirty="0" smtClean="0">
                <a:solidFill>
                  <a:srgbClr val="4545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品类信息</a:t>
            </a:r>
            <a:endParaRPr lang="en-US" altLang="zh-CN" sz="1600" b="1" dirty="0" smtClean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 defTabSz="1120140">
              <a:lnSpc>
                <a:spcPts val="1715"/>
              </a:lnSpc>
              <a:buFont typeface="Wingdings" panose="05000000000000000000" pitchFamily="2" charset="2"/>
              <a:buChar char="p"/>
            </a:pPr>
            <a:endParaRPr lang="zh-CN" altLang="en-US" sz="1600" b="1" dirty="0">
              <a:solidFill>
                <a:srgbClr val="4545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98032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3470" y="194353"/>
            <a:ext cx="10098829" cy="832568"/>
          </a:xfrm>
        </p:spPr>
        <p:txBody>
          <a:bodyPr/>
          <a:lstStyle/>
          <a:p>
            <a:r>
              <a:rPr lang="zh-CN" altLang="en-US" dirty="0" smtClean="0"/>
              <a:t>产品数据查询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9</a:t>
            </a:fld>
            <a:endParaRPr lang="en-US" dirty="0"/>
          </a:p>
        </p:txBody>
      </p:sp>
      <p:sp>
        <p:nvSpPr>
          <p:cNvPr id="8" name="矩形 7"/>
          <p:cNvSpPr/>
          <p:nvPr/>
        </p:nvSpPr>
        <p:spPr>
          <a:xfrm>
            <a:off x="7886827" y="2515112"/>
            <a:ext cx="2526008" cy="653415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54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条码状态信息</a:t>
            </a:r>
          </a:p>
        </p:txBody>
      </p:sp>
      <p:sp>
        <p:nvSpPr>
          <p:cNvPr id="9" name="矩形 8"/>
          <p:cNvSpPr/>
          <p:nvPr/>
        </p:nvSpPr>
        <p:spPr>
          <a:xfrm>
            <a:off x="7886827" y="1595855"/>
            <a:ext cx="2526008" cy="653415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54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信息</a:t>
            </a:r>
            <a:endParaRPr lang="zh-CN" altLang="en-US" sz="2854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19"/>
          <a:stretch/>
        </p:blipFill>
        <p:spPr>
          <a:xfrm>
            <a:off x="466726" y="1301809"/>
            <a:ext cx="6771676" cy="497278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2781300" y="2159794"/>
            <a:ext cx="2667000" cy="152400"/>
          </a:xfrm>
          <a:prstGeom prst="rect">
            <a:avLst/>
          </a:prstGeom>
          <a:noFill/>
          <a:ln w="254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888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PICTURE" val="#191082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81333"/>
  <p:tag name="MH_LIBRARY" val="GRAPHIC"/>
  <p:tag name="MH_TYPE" val="Other"/>
  <p:tag name="MH_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81333"/>
  <p:tag name="MH_LIBRARY" val="GRAPHIC"/>
  <p:tag name="MH_TYPE" val="Other"/>
  <p:tag name="MH_ORDER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81333"/>
  <p:tag name="MH_LIBRARY" val="GRAPHIC"/>
  <p:tag name="MH_TYPE" val="Other"/>
  <p:tag name="MH_ORDER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81333"/>
  <p:tag name="MH_LIBRARY" val="GRAPHIC"/>
  <p:tag name="MH_TYPE" val="Other"/>
  <p:tag name="MH_ORDER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181333"/>
  <p:tag name="MH_LIBRARY" val="GRAPHIC"/>
  <p:tag name="MH_TYPE" val="Title"/>
  <p:tag name="MH_ORDER" val="1"/>
</p:tagLst>
</file>

<file path=ppt/theme/theme1.xml><?xml version="1.0" encoding="utf-8"?>
<a:theme xmlns:a="http://schemas.openxmlformats.org/drawingml/2006/main" name="Title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ntumrtci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6334"/>
        </a:solidFill>
        <a:ln w="25400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</a:spDef>
    <a:lnDef>
      <a:spPr>
        <a:ln w="12700"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</a:theme>
</file>

<file path=ppt/theme/theme10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ntumrtci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</a:theme>
</file>

<file path=ppt/theme/theme3.xml><?xml version="1.0" encoding="utf-8"?>
<a:theme xmlns:a="http://schemas.openxmlformats.org/drawingml/2006/main" name="Divider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ntumrtci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6334"/>
        </a:solidFill>
        <a:ln w="25400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</a:theme>
</file>

<file path=ppt/theme/theme4.xml><?xml version="1.0" encoding="utf-8"?>
<a:theme xmlns:a="http://schemas.openxmlformats.org/drawingml/2006/main" name="1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ntumrtci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ntumrtci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ntumrtci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ntumrtci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</a:theme>
</file>

<file path=ppt/theme/theme9.xml><?xml version="1.0" encoding="utf-8"?>
<a:theme xmlns:a="http://schemas.openxmlformats.org/drawingml/2006/main" name="6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3fw4xv0b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S1_Template_PPT_16-9_2015-02-04</Template>
  <TotalTime>23954</TotalTime>
  <Words>853</Words>
  <Application>Microsoft Office PowerPoint</Application>
  <PresentationFormat>自定义</PresentationFormat>
  <Paragraphs>183</Paragraphs>
  <Slides>14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9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37" baseType="lpstr">
      <vt:lpstr>Lucida Grande</vt:lpstr>
      <vt:lpstr>Merriweather Sans</vt:lpstr>
      <vt:lpstr>ＭＳ Ｐゴシック</vt:lpstr>
      <vt:lpstr>ＭＳ Ｐゴシック</vt:lpstr>
      <vt:lpstr>等线</vt:lpstr>
      <vt:lpstr>黑体</vt:lpstr>
      <vt:lpstr>华文行楷</vt:lpstr>
      <vt:lpstr>宋体</vt:lpstr>
      <vt:lpstr>微软雅黑</vt:lpstr>
      <vt:lpstr>Arial</vt:lpstr>
      <vt:lpstr>Calibri</vt:lpstr>
      <vt:lpstr>Verdana</vt:lpstr>
      <vt:lpstr>Wingdings</vt:lpstr>
      <vt:lpstr>Title</vt:lpstr>
      <vt:lpstr>Content</vt:lpstr>
      <vt:lpstr>Divider</vt:lpstr>
      <vt:lpstr>1_Content</vt:lpstr>
      <vt:lpstr>2_Content</vt:lpstr>
      <vt:lpstr>3_Content</vt:lpstr>
      <vt:lpstr>4_Content</vt:lpstr>
      <vt:lpstr>5_Content</vt:lpstr>
      <vt:lpstr>6_Content</vt:lpstr>
      <vt:lpstr>think-cell Slide</vt:lpstr>
      <vt:lpstr>物品编码及数据资源情况介绍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产品数据查询</vt:lpstr>
      <vt:lpstr>PowerPoint 演示文稿</vt:lpstr>
      <vt:lpstr>PowerPoint 演示文稿</vt:lpstr>
      <vt:lpstr>国际共享数据</vt:lpstr>
      <vt:lpstr>数据对外应用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GS1</dc:creator>
  <cp:keywords/>
  <dc:description/>
  <cp:lastModifiedBy>张丹</cp:lastModifiedBy>
  <cp:revision>1235</cp:revision>
  <cp:lastPrinted>2024-05-09T03:37:49Z</cp:lastPrinted>
  <dcterms:created xsi:type="dcterms:W3CDTF">2015-02-03T16:52:14Z</dcterms:created>
  <dcterms:modified xsi:type="dcterms:W3CDTF">2024-08-07T05:51:15Z</dcterms:modified>
  <cp:category>Corporate 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6</vt:i4>
  </property>
  <property fmtid="{D5CDD505-2E9C-101B-9397-08002B2CF9AE}" pid="3" name="Date completed">
    <vt:filetime>2015-05-13T04:00:00Z</vt:filetime>
  </property>
</Properties>
</file>